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4" r:id="rId5"/>
    <p:sldMasterId id="2147483743" r:id="rId6"/>
    <p:sldMasterId id="2147483756" r:id="rId7"/>
  </p:sldMasterIdLst>
  <p:notesMasterIdLst>
    <p:notesMasterId r:id="rId54"/>
  </p:notesMasterIdLst>
  <p:handoutMasterIdLst>
    <p:handoutMasterId r:id="rId55"/>
  </p:handoutMasterIdLst>
  <p:sldIdLst>
    <p:sldId id="286" r:id="rId8"/>
    <p:sldId id="392" r:id="rId9"/>
    <p:sldId id="390" r:id="rId10"/>
    <p:sldId id="388" r:id="rId11"/>
    <p:sldId id="386" r:id="rId12"/>
    <p:sldId id="387" r:id="rId13"/>
    <p:sldId id="343" r:id="rId14"/>
    <p:sldId id="393" r:id="rId15"/>
    <p:sldId id="394" r:id="rId16"/>
    <p:sldId id="374" r:id="rId17"/>
    <p:sldId id="399" r:id="rId18"/>
    <p:sldId id="400" r:id="rId19"/>
    <p:sldId id="401" r:id="rId20"/>
    <p:sldId id="406" r:id="rId21"/>
    <p:sldId id="378" r:id="rId22"/>
    <p:sldId id="410" r:id="rId23"/>
    <p:sldId id="379" r:id="rId24"/>
    <p:sldId id="381" r:id="rId25"/>
    <p:sldId id="407" r:id="rId26"/>
    <p:sldId id="369" r:id="rId27"/>
    <p:sldId id="370" r:id="rId28"/>
    <p:sldId id="398" r:id="rId29"/>
    <p:sldId id="353" r:id="rId30"/>
    <p:sldId id="354" r:id="rId31"/>
    <p:sldId id="355" r:id="rId32"/>
    <p:sldId id="356" r:id="rId33"/>
    <p:sldId id="357" r:id="rId34"/>
    <p:sldId id="358" r:id="rId35"/>
    <p:sldId id="359" r:id="rId36"/>
    <p:sldId id="371" r:id="rId37"/>
    <p:sldId id="348" r:id="rId38"/>
    <p:sldId id="384" r:id="rId39"/>
    <p:sldId id="349" r:id="rId40"/>
    <p:sldId id="350" r:id="rId41"/>
    <p:sldId id="351" r:id="rId42"/>
    <p:sldId id="352" r:id="rId43"/>
    <p:sldId id="367" r:id="rId44"/>
    <p:sldId id="408" r:id="rId45"/>
    <p:sldId id="373" r:id="rId46"/>
    <p:sldId id="282" r:id="rId47"/>
    <p:sldId id="411" r:id="rId48"/>
    <p:sldId id="415" r:id="rId49"/>
    <p:sldId id="414" r:id="rId50"/>
    <p:sldId id="413" r:id="rId51"/>
    <p:sldId id="402" r:id="rId52"/>
    <p:sldId id="403" r:id="rId5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78A682A-2C6B-4471-B181-63C35B14238E}">
          <p14:sldIdLst>
            <p14:sldId id="286"/>
            <p14:sldId id="392"/>
            <p14:sldId id="390"/>
            <p14:sldId id="388"/>
            <p14:sldId id="386"/>
            <p14:sldId id="387"/>
            <p14:sldId id="343"/>
            <p14:sldId id="393"/>
            <p14:sldId id="394"/>
            <p14:sldId id="374"/>
            <p14:sldId id="399"/>
            <p14:sldId id="400"/>
            <p14:sldId id="401"/>
            <p14:sldId id="406"/>
            <p14:sldId id="378"/>
            <p14:sldId id="410"/>
            <p14:sldId id="379"/>
            <p14:sldId id="381"/>
            <p14:sldId id="407"/>
            <p14:sldId id="369"/>
            <p14:sldId id="370"/>
            <p14:sldId id="398"/>
            <p14:sldId id="353"/>
            <p14:sldId id="354"/>
            <p14:sldId id="355"/>
            <p14:sldId id="356"/>
            <p14:sldId id="357"/>
            <p14:sldId id="358"/>
            <p14:sldId id="359"/>
            <p14:sldId id="371"/>
            <p14:sldId id="348"/>
            <p14:sldId id="384"/>
            <p14:sldId id="349"/>
            <p14:sldId id="350"/>
            <p14:sldId id="351"/>
            <p14:sldId id="352"/>
            <p14:sldId id="367"/>
            <p14:sldId id="408"/>
            <p14:sldId id="373"/>
            <p14:sldId id="282"/>
            <p14:sldId id="411"/>
            <p14:sldId id="415"/>
            <p14:sldId id="414"/>
            <p14:sldId id="413"/>
            <p14:sldId id="402"/>
            <p14:sldId id="403"/>
          </p14:sldIdLst>
        </p14:section>
        <p14:section name="Archive" id="{B18D0A32-9AA0-4E52-A5EA-E4B8E98E0EFC}">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BA00"/>
    <a:srgbClr val="002050"/>
    <a:srgbClr val="007233"/>
    <a:srgbClr val="86C400"/>
    <a:srgbClr val="82BF36"/>
    <a:srgbClr val="1F49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13" autoAdjust="0"/>
    <p:restoredTop sz="89043" autoAdjust="0"/>
  </p:normalViewPr>
  <p:slideViewPr>
    <p:cSldViewPr snapToGrid="0">
      <p:cViewPr varScale="1">
        <p:scale>
          <a:sx n="69" d="100"/>
          <a:sy n="69" d="100"/>
        </p:scale>
        <p:origin x="843" y="42"/>
      </p:cViewPr>
      <p:guideLst/>
    </p:cSldViewPr>
  </p:slideViewPr>
  <p:outlineViewPr>
    <p:cViewPr>
      <p:scale>
        <a:sx n="33" d="100"/>
        <a:sy n="33" d="100"/>
      </p:scale>
      <p:origin x="0" y="-632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54" d="100"/>
          <a:sy n="54" d="100"/>
        </p:scale>
        <p:origin x="2796" y="4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handoutMaster" Target="handoutMasters/handoutMaster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theme" Target="theme/theme1.xml"/><Relationship Id="rId5" Type="http://schemas.openxmlformats.org/officeDocument/2006/relationships/slideMaster" Target="slideMasters/slideMaster2.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presProps" Target="presProp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tableStyles" Target="tableStyle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viewProps" Target="viewProps.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dy Roberts" userId="b6430d21-8e5e-4d9c-81e9-e1ae515d6d74" providerId="ADAL" clId="{A2D1683E-1161-4E92-9684-553A94291962}"/>
    <pc:docChg chg="undo redo custSel delSld modSld modMainMaster modSection">
      <pc:chgData name="Andy Roberts" userId="b6430d21-8e5e-4d9c-81e9-e1ae515d6d74" providerId="ADAL" clId="{A2D1683E-1161-4E92-9684-553A94291962}" dt="2017-12-05T20:59:53.508" v="682" actId="20577"/>
      <pc:docMkLst>
        <pc:docMk/>
      </pc:docMkLst>
      <pc:sldChg chg="del">
        <pc:chgData name="Andy Roberts" userId="b6430d21-8e5e-4d9c-81e9-e1ae515d6d74" providerId="ADAL" clId="{A2D1683E-1161-4E92-9684-553A94291962}" dt="2017-12-05T20:38:59.061" v="104" actId="2696"/>
        <pc:sldMkLst>
          <pc:docMk/>
          <pc:sldMk cId="1967407312" sldId="275"/>
        </pc:sldMkLst>
      </pc:sldChg>
      <pc:sldChg chg="modSp">
        <pc:chgData name="Andy Roberts" userId="b6430d21-8e5e-4d9c-81e9-e1ae515d6d74" providerId="ADAL" clId="{A2D1683E-1161-4E92-9684-553A94291962}" dt="2017-12-05T20:38:56.022" v="103" actId="20577"/>
        <pc:sldMkLst>
          <pc:docMk/>
          <pc:sldMk cId="1630196487" sldId="286"/>
        </pc:sldMkLst>
        <pc:spChg chg="mod">
          <ac:chgData name="Andy Roberts" userId="b6430d21-8e5e-4d9c-81e9-e1ae515d6d74" providerId="ADAL" clId="{A2D1683E-1161-4E92-9684-553A94291962}" dt="2017-12-05T20:38:56.022" v="103" actId="20577"/>
          <ac:spMkLst>
            <pc:docMk/>
            <pc:sldMk cId="1630196487" sldId="286"/>
            <ac:spMk id="4" creationId="{00000000-0000-0000-0000-000000000000}"/>
          </ac:spMkLst>
        </pc:spChg>
      </pc:sldChg>
      <pc:sldChg chg="del">
        <pc:chgData name="Andy Roberts" userId="b6430d21-8e5e-4d9c-81e9-e1ae515d6d74" providerId="ADAL" clId="{A2D1683E-1161-4E92-9684-553A94291962}" dt="2017-12-05T20:39:00.994" v="105" actId="2696"/>
        <pc:sldMkLst>
          <pc:docMk/>
          <pc:sldMk cId="1190231553" sldId="301"/>
        </pc:sldMkLst>
      </pc:sldChg>
      <pc:sldChg chg="delSp">
        <pc:chgData name="Andy Roberts" userId="b6430d21-8e5e-4d9c-81e9-e1ae515d6d74" providerId="ADAL" clId="{A2D1683E-1161-4E92-9684-553A94291962}" dt="2017-12-05T20:43:28.388" v="207" actId="478"/>
        <pc:sldMkLst>
          <pc:docMk/>
          <pc:sldMk cId="2910429092" sldId="374"/>
        </pc:sldMkLst>
        <pc:spChg chg="del">
          <ac:chgData name="Andy Roberts" userId="b6430d21-8e5e-4d9c-81e9-e1ae515d6d74" providerId="ADAL" clId="{A2D1683E-1161-4E92-9684-553A94291962}" dt="2017-12-05T20:43:28.388" v="207" actId="478"/>
          <ac:spMkLst>
            <pc:docMk/>
            <pc:sldMk cId="2910429092" sldId="374"/>
            <ac:spMk id="5" creationId="{00000000-0000-0000-0000-000000000000}"/>
          </ac:spMkLst>
        </pc:spChg>
      </pc:sldChg>
      <pc:sldChg chg="modSp">
        <pc:chgData name="Andy Roberts" userId="b6430d21-8e5e-4d9c-81e9-e1ae515d6d74" providerId="ADAL" clId="{A2D1683E-1161-4E92-9684-553A94291962}" dt="2017-12-05T20:40:59.707" v="206" actId="1036"/>
        <pc:sldMkLst>
          <pc:docMk/>
          <pc:sldMk cId="2352830950" sldId="386"/>
        </pc:sldMkLst>
        <pc:spChg chg="mod">
          <ac:chgData name="Andy Roberts" userId="b6430d21-8e5e-4d9c-81e9-e1ae515d6d74" providerId="ADAL" clId="{A2D1683E-1161-4E92-9684-553A94291962}" dt="2017-12-05T20:40:59.707" v="206" actId="1036"/>
          <ac:spMkLst>
            <pc:docMk/>
            <pc:sldMk cId="2352830950" sldId="386"/>
            <ac:spMk id="3" creationId="{00000000-0000-0000-0000-000000000000}"/>
          </ac:spMkLst>
        </pc:spChg>
      </pc:sldChg>
      <pc:sldChg chg="modSp">
        <pc:chgData name="Andy Roberts" userId="b6430d21-8e5e-4d9c-81e9-e1ae515d6d74" providerId="ADAL" clId="{A2D1683E-1161-4E92-9684-553A94291962}" dt="2017-12-05T20:40:43.247" v="205" actId="20577"/>
        <pc:sldMkLst>
          <pc:docMk/>
          <pc:sldMk cId="1869063355" sldId="388"/>
        </pc:sldMkLst>
        <pc:spChg chg="mod">
          <ac:chgData name="Andy Roberts" userId="b6430d21-8e5e-4d9c-81e9-e1ae515d6d74" providerId="ADAL" clId="{A2D1683E-1161-4E92-9684-553A94291962}" dt="2017-12-05T20:40:43.247" v="205" actId="20577"/>
          <ac:spMkLst>
            <pc:docMk/>
            <pc:sldMk cId="1869063355" sldId="388"/>
            <ac:spMk id="3" creationId="{00000000-0000-0000-0000-000000000000}"/>
          </ac:spMkLst>
        </pc:spChg>
      </pc:sldChg>
      <pc:sldChg chg="modSp">
        <pc:chgData name="Andy Roberts" userId="b6430d21-8e5e-4d9c-81e9-e1ae515d6d74" providerId="ADAL" clId="{A2D1683E-1161-4E92-9684-553A94291962}" dt="2017-12-05T20:36:43.077" v="5" actId="27636"/>
        <pc:sldMkLst>
          <pc:docMk/>
          <pc:sldMk cId="2111837226" sldId="390"/>
        </pc:sldMkLst>
        <pc:spChg chg="mod">
          <ac:chgData name="Andy Roberts" userId="b6430d21-8e5e-4d9c-81e9-e1ae515d6d74" providerId="ADAL" clId="{A2D1683E-1161-4E92-9684-553A94291962}" dt="2017-12-05T20:36:43.077" v="5" actId="27636"/>
          <ac:spMkLst>
            <pc:docMk/>
            <pc:sldMk cId="2111837226" sldId="390"/>
            <ac:spMk id="2" creationId="{00000000-0000-0000-0000-000000000000}"/>
          </ac:spMkLst>
        </pc:spChg>
      </pc:sldChg>
      <pc:sldChg chg="modSp">
        <pc:chgData name="Andy Roberts" userId="b6430d21-8e5e-4d9c-81e9-e1ae515d6d74" providerId="ADAL" clId="{A2D1683E-1161-4E92-9684-553A94291962}" dt="2017-12-05T20:49:32.001" v="363" actId="20577"/>
        <pc:sldMkLst>
          <pc:docMk/>
          <pc:sldMk cId="3918739013" sldId="399"/>
        </pc:sldMkLst>
        <pc:spChg chg="mod">
          <ac:chgData name="Andy Roberts" userId="b6430d21-8e5e-4d9c-81e9-e1ae515d6d74" providerId="ADAL" clId="{A2D1683E-1161-4E92-9684-553A94291962}" dt="2017-12-05T20:49:32.001" v="363" actId="20577"/>
          <ac:spMkLst>
            <pc:docMk/>
            <pc:sldMk cId="3918739013" sldId="399"/>
            <ac:spMk id="6" creationId="{00000000-0000-0000-0000-000000000000}"/>
          </ac:spMkLst>
        </pc:spChg>
      </pc:sldChg>
      <pc:sldChg chg="modSp">
        <pc:chgData name="Andy Roberts" userId="b6430d21-8e5e-4d9c-81e9-e1ae515d6d74" providerId="ADAL" clId="{A2D1683E-1161-4E92-9684-553A94291962}" dt="2017-12-05T20:59:53.508" v="682" actId="20577"/>
        <pc:sldMkLst>
          <pc:docMk/>
          <pc:sldMk cId="3836025127" sldId="400"/>
        </pc:sldMkLst>
        <pc:spChg chg="mod">
          <ac:chgData name="Andy Roberts" userId="b6430d21-8e5e-4d9c-81e9-e1ae515d6d74" providerId="ADAL" clId="{A2D1683E-1161-4E92-9684-553A94291962}" dt="2017-12-05T20:59:53.508" v="682" actId="20577"/>
          <ac:spMkLst>
            <pc:docMk/>
            <pc:sldMk cId="3836025127" sldId="400"/>
            <ac:spMk id="6" creationId="{00000000-0000-0000-0000-000000000000}"/>
          </ac:spMkLst>
        </pc:spChg>
      </pc:sldChg>
      <pc:sldMasterChg chg="delSldLayout modSldLayout">
        <pc:chgData name="Andy Roberts" userId="b6430d21-8e5e-4d9c-81e9-e1ae515d6d74" providerId="ADAL" clId="{A2D1683E-1161-4E92-9684-553A94291962}" dt="2017-12-05T20:36:53.730" v="10" actId="2696"/>
        <pc:sldMasterMkLst>
          <pc:docMk/>
          <pc:sldMasterMk cId="3118783959" sldId="2147483660"/>
        </pc:sldMasterMkLst>
        <pc:sldLayoutChg chg="delSp">
          <pc:chgData name="Andy Roberts" userId="b6430d21-8e5e-4d9c-81e9-e1ae515d6d74" providerId="ADAL" clId="{A2D1683E-1161-4E92-9684-553A94291962}" dt="2017-12-05T20:30:31.902" v="0" actId="478"/>
          <pc:sldLayoutMkLst>
            <pc:docMk/>
            <pc:sldMasterMk cId="3118783959" sldId="2147483660"/>
            <pc:sldLayoutMk cId="1594463224" sldId="2147483670"/>
          </pc:sldLayoutMkLst>
          <pc:spChg chg="del">
            <ac:chgData name="Andy Roberts" userId="b6430d21-8e5e-4d9c-81e9-e1ae515d6d74" providerId="ADAL" clId="{A2D1683E-1161-4E92-9684-553A94291962}" dt="2017-12-05T20:30:31.902" v="0" actId="478"/>
            <ac:spMkLst>
              <pc:docMk/>
              <pc:sldMasterMk cId="3118783959" sldId="2147483660"/>
              <pc:sldLayoutMk cId="1594463224" sldId="2147483670"/>
              <ac:spMk id="10" creationId="{00000000-0000-0000-0000-000000000000}"/>
            </ac:spMkLst>
          </pc:spChg>
        </pc:sldLayoutChg>
        <pc:sldLayoutChg chg="del">
          <pc:chgData name="Andy Roberts" userId="b6430d21-8e5e-4d9c-81e9-e1ae515d6d74" providerId="ADAL" clId="{A2D1683E-1161-4E92-9684-553A94291962}" dt="2017-12-05T20:36:46.715" v="6" actId="2696"/>
          <pc:sldLayoutMkLst>
            <pc:docMk/>
            <pc:sldMasterMk cId="3779077179" sldId="2147483695"/>
            <pc:sldLayoutMk cId="370495850" sldId="2147483696"/>
          </pc:sldLayoutMkLst>
        </pc:sldLayoutChg>
        <pc:sldLayoutChg chg="del">
          <pc:chgData name="Andy Roberts" userId="b6430d21-8e5e-4d9c-81e9-e1ae515d6d74" providerId="ADAL" clId="{A2D1683E-1161-4E92-9684-553A94291962}" dt="2017-12-05T20:36:47.893" v="7" actId="2696"/>
          <pc:sldLayoutMkLst>
            <pc:docMk/>
            <pc:sldMasterMk cId="3779077179" sldId="2147483695"/>
            <pc:sldLayoutMk cId="1686012473" sldId="2147483697"/>
          </pc:sldLayoutMkLst>
        </pc:sldLayoutChg>
        <pc:sldLayoutChg chg="del">
          <pc:chgData name="Andy Roberts" userId="b6430d21-8e5e-4d9c-81e9-e1ae515d6d74" providerId="ADAL" clId="{A2D1683E-1161-4E92-9684-553A94291962}" dt="2017-12-05T20:36:50.377" v="8" actId="2696"/>
          <pc:sldLayoutMkLst>
            <pc:docMk/>
            <pc:sldMasterMk cId="3779077179" sldId="2147483695"/>
            <pc:sldLayoutMk cId="3728029218" sldId="2147483698"/>
          </pc:sldLayoutMkLst>
        </pc:sldLayoutChg>
        <pc:sldLayoutChg chg="del">
          <pc:chgData name="Andy Roberts" userId="b6430d21-8e5e-4d9c-81e9-e1ae515d6d74" providerId="ADAL" clId="{A2D1683E-1161-4E92-9684-553A94291962}" dt="2017-12-05T20:36:52.081" v="9" actId="2696"/>
          <pc:sldLayoutMkLst>
            <pc:docMk/>
            <pc:sldMasterMk cId="3779077179" sldId="2147483695"/>
            <pc:sldLayoutMk cId="1616058846" sldId="2147483699"/>
          </pc:sldLayoutMkLst>
        </pc:sldLayoutChg>
        <pc:sldLayoutChg chg="del">
          <pc:chgData name="Andy Roberts" userId="b6430d21-8e5e-4d9c-81e9-e1ae515d6d74" providerId="ADAL" clId="{A2D1683E-1161-4E92-9684-553A94291962}" dt="2017-12-05T20:36:53.730" v="10" actId="2696"/>
          <pc:sldLayoutMkLst>
            <pc:docMk/>
            <pc:sldMasterMk cId="3779077179" sldId="2147483695"/>
            <pc:sldLayoutMk cId="4294329318" sldId="2147483701"/>
          </pc:sldLayoutMkLst>
        </pc:sldLayoutChg>
      </pc:sldMasterChg>
      <pc:sldMasterChg chg="modSldLayout">
        <pc:chgData name="Andy Roberts" userId="b6430d21-8e5e-4d9c-81e9-e1ae515d6d74" providerId="ADAL" clId="{A2D1683E-1161-4E92-9684-553A94291962}" dt="2017-12-05T20:30:44.631" v="3" actId="478"/>
        <pc:sldMasterMkLst>
          <pc:docMk/>
          <pc:sldMasterMk cId="1844474713" sldId="2147483684"/>
        </pc:sldMasterMkLst>
        <pc:sldLayoutChg chg="delSp">
          <pc:chgData name="Andy Roberts" userId="b6430d21-8e5e-4d9c-81e9-e1ae515d6d74" providerId="ADAL" clId="{A2D1683E-1161-4E92-9684-553A94291962}" dt="2017-12-05T20:30:37.759" v="1" actId="478"/>
          <pc:sldLayoutMkLst>
            <pc:docMk/>
            <pc:sldMasterMk cId="1844474713" sldId="2147483684"/>
            <pc:sldLayoutMk cId="154235041" sldId="2147483685"/>
          </pc:sldLayoutMkLst>
          <pc:picChg chg="del">
            <ac:chgData name="Andy Roberts" userId="b6430d21-8e5e-4d9c-81e9-e1ae515d6d74" providerId="ADAL" clId="{A2D1683E-1161-4E92-9684-553A94291962}" dt="2017-12-05T20:30:37.759" v="1" actId="478"/>
            <ac:picMkLst>
              <pc:docMk/>
              <pc:sldMasterMk cId="1844474713" sldId="2147483684"/>
              <pc:sldLayoutMk cId="154235041" sldId="2147483685"/>
              <ac:picMk id="2" creationId="{00000000-0000-0000-0000-000000000000}"/>
            </ac:picMkLst>
          </pc:picChg>
        </pc:sldLayoutChg>
        <pc:sldLayoutChg chg="delSp">
          <pc:chgData name="Andy Roberts" userId="b6430d21-8e5e-4d9c-81e9-e1ae515d6d74" providerId="ADAL" clId="{A2D1683E-1161-4E92-9684-553A94291962}" dt="2017-12-05T20:30:41.076" v="2" actId="478"/>
          <pc:sldLayoutMkLst>
            <pc:docMk/>
            <pc:sldMasterMk cId="1844474713" sldId="2147483684"/>
            <pc:sldLayoutMk cId="3859386594" sldId="2147483686"/>
          </pc:sldLayoutMkLst>
          <pc:picChg chg="del">
            <ac:chgData name="Andy Roberts" userId="b6430d21-8e5e-4d9c-81e9-e1ae515d6d74" providerId="ADAL" clId="{A2D1683E-1161-4E92-9684-553A94291962}" dt="2017-12-05T20:30:41.076" v="2" actId="478"/>
            <ac:picMkLst>
              <pc:docMk/>
              <pc:sldMasterMk cId="1844474713" sldId="2147483684"/>
              <pc:sldLayoutMk cId="3859386594" sldId="2147483686"/>
              <ac:picMk id="12" creationId="{00000000-0000-0000-0000-000000000000}"/>
            </ac:picMkLst>
          </pc:picChg>
        </pc:sldLayoutChg>
        <pc:sldLayoutChg chg="delSp">
          <pc:chgData name="Andy Roberts" userId="b6430d21-8e5e-4d9c-81e9-e1ae515d6d74" providerId="ADAL" clId="{A2D1683E-1161-4E92-9684-553A94291962}" dt="2017-12-05T20:30:44.631" v="3" actId="478"/>
          <pc:sldLayoutMkLst>
            <pc:docMk/>
            <pc:sldMasterMk cId="1844474713" sldId="2147483684"/>
            <pc:sldLayoutMk cId="1436136068" sldId="2147483687"/>
          </pc:sldLayoutMkLst>
          <pc:picChg chg="del">
            <ac:chgData name="Andy Roberts" userId="b6430d21-8e5e-4d9c-81e9-e1ae515d6d74" providerId="ADAL" clId="{A2D1683E-1161-4E92-9684-553A94291962}" dt="2017-12-05T20:30:44.631" v="3" actId="478"/>
            <ac:picMkLst>
              <pc:docMk/>
              <pc:sldMasterMk cId="1844474713" sldId="2147483684"/>
              <pc:sldLayoutMk cId="1436136068" sldId="2147483687"/>
              <ac:picMk id="8" creationId="{00000000-0000-0000-0000-000000000000}"/>
            </ac:picMkLst>
          </pc:picChg>
        </pc:sldLayoutChg>
      </pc:sldMasterChg>
      <pc:sldMasterChg chg="modSldLayout">
        <pc:chgData name="Andy Roberts" userId="b6430d21-8e5e-4d9c-81e9-e1ae515d6d74" providerId="ADAL" clId="{A2D1683E-1161-4E92-9684-553A94291962}" dt="2017-12-05T20:36:42.766" v="4"/>
        <pc:sldMasterMkLst>
          <pc:docMk/>
          <pc:sldMasterMk cId="3779077179" sldId="2147483695"/>
        </pc:sldMasterMkLst>
        <pc:sldLayoutChg chg="modSp">
          <pc:chgData name="Andy Roberts" userId="b6430d21-8e5e-4d9c-81e9-e1ae515d6d74" providerId="ADAL" clId="{A2D1683E-1161-4E92-9684-553A94291962}" dt="2017-12-05T20:36:42.766" v="4"/>
          <pc:sldLayoutMkLst>
            <pc:docMk/>
            <pc:sldMasterMk cId="3779077179" sldId="2147483695"/>
            <pc:sldLayoutMk cId="3728029218" sldId="2147483698"/>
          </pc:sldLayoutMkLst>
          <pc:spChg chg="mod">
            <ac:chgData name="Andy Roberts" userId="b6430d21-8e5e-4d9c-81e9-e1ae515d6d74" providerId="ADAL" clId="{A2D1683E-1161-4E92-9684-553A94291962}" dt="2017-12-05T20:36:42.766" v="4"/>
            <ac:spMkLst>
              <pc:docMk/>
              <pc:sldMasterMk cId="3779077179" sldId="2147483695"/>
              <pc:sldLayoutMk cId="3728029218" sldId="2147483698"/>
              <ac:spMk id="4" creationId="{00000000-0000-0000-0000-000000000000}"/>
            </ac:spMkLst>
          </pc:spChg>
          <pc:spChg chg="mod">
            <ac:chgData name="Andy Roberts" userId="b6430d21-8e5e-4d9c-81e9-e1ae515d6d74" providerId="ADAL" clId="{A2D1683E-1161-4E92-9684-553A94291962}" dt="2017-12-05T20:36:42.766" v="4"/>
            <ac:spMkLst>
              <pc:docMk/>
              <pc:sldMasterMk cId="3779077179" sldId="2147483695"/>
              <pc:sldLayoutMk cId="3728029218" sldId="2147483698"/>
              <ac:spMk id="5" creationId="{00000000-0000-0000-0000-000000000000}"/>
            </ac:spMkLst>
          </pc:spChg>
        </pc:sldLayoutChg>
        <pc:sldLayoutChg chg="modSp">
          <pc:chgData name="Andy Roberts" userId="b6430d21-8e5e-4d9c-81e9-e1ae515d6d74" providerId="ADAL" clId="{A2D1683E-1161-4E92-9684-553A94291962}" dt="2017-12-05T20:36:42.766" v="4"/>
          <pc:sldLayoutMkLst>
            <pc:docMk/>
            <pc:sldMasterMk cId="3779077179" sldId="2147483695"/>
            <pc:sldLayoutMk cId="1616058846" sldId="2147483699"/>
          </pc:sldLayoutMkLst>
          <pc:spChg chg="mod">
            <ac:chgData name="Andy Roberts" userId="b6430d21-8e5e-4d9c-81e9-e1ae515d6d74" providerId="ADAL" clId="{A2D1683E-1161-4E92-9684-553A94291962}" dt="2017-12-05T20:36:42.766" v="4"/>
            <ac:spMkLst>
              <pc:docMk/>
              <pc:sldMasterMk cId="3779077179" sldId="2147483695"/>
              <pc:sldLayoutMk cId="1616058846" sldId="2147483699"/>
              <ac:spMk id="2" creationId="{00000000-0000-0000-0000-000000000000}"/>
            </ac:spMkLst>
          </pc:spChg>
          <pc:spChg chg="mod">
            <ac:chgData name="Andy Roberts" userId="b6430d21-8e5e-4d9c-81e9-e1ae515d6d74" providerId="ADAL" clId="{A2D1683E-1161-4E92-9684-553A94291962}" dt="2017-12-05T20:36:42.766" v="4"/>
            <ac:spMkLst>
              <pc:docMk/>
              <pc:sldMasterMk cId="3779077179" sldId="2147483695"/>
              <pc:sldLayoutMk cId="1616058846" sldId="2147483699"/>
              <ac:spMk id="3" creationId="{00000000-0000-0000-0000-000000000000}"/>
            </ac:spMkLst>
          </pc:spChg>
        </pc:sldLayoutChg>
        <pc:sldLayoutChg chg="modTransition">
          <pc:chgData name="Andy Roberts" userId="b6430d21-8e5e-4d9c-81e9-e1ae515d6d74" providerId="ADAL" clId="{A2D1683E-1161-4E92-9684-553A94291962}" dt="2017-12-05T20:36:42.766" v="4"/>
          <pc:sldLayoutMkLst>
            <pc:docMk/>
            <pc:sldMasterMk cId="3779077179" sldId="2147483695"/>
            <pc:sldLayoutMk cId="3192996829" sldId="2147483702"/>
          </pc:sldLayoutMkLst>
        </pc:sldLayoutChg>
      </pc:sldMasterChg>
      <pc:sldMasterChg chg="delSldLayout">
        <pc:chgData name="Andy Roberts" userId="b6430d21-8e5e-4d9c-81e9-e1ae515d6d74" providerId="ADAL" clId="{A2D1683E-1161-4E92-9684-553A94291962}" dt="2017-12-05T20:37:11.940" v="13" actId="2696"/>
        <pc:sldMasterMkLst>
          <pc:docMk/>
          <pc:sldMasterMk cId="806226100" sldId="2147483743"/>
        </pc:sldMasterMkLst>
        <pc:sldLayoutChg chg="del">
          <pc:chgData name="Andy Roberts" userId="b6430d21-8e5e-4d9c-81e9-e1ae515d6d74" providerId="ADAL" clId="{A2D1683E-1161-4E92-9684-553A94291962}" dt="2017-12-05T20:37:05.935" v="11" actId="2696"/>
          <pc:sldLayoutMkLst>
            <pc:docMk/>
            <pc:sldMasterMk cId="806226100" sldId="2147483743"/>
            <pc:sldLayoutMk cId="949265120" sldId="2147483744"/>
          </pc:sldLayoutMkLst>
        </pc:sldLayoutChg>
        <pc:sldLayoutChg chg="del">
          <pc:chgData name="Andy Roberts" userId="b6430d21-8e5e-4d9c-81e9-e1ae515d6d74" providerId="ADAL" clId="{A2D1683E-1161-4E92-9684-553A94291962}" dt="2017-12-05T20:37:06.397" v="12" actId="2696"/>
          <pc:sldLayoutMkLst>
            <pc:docMk/>
            <pc:sldMasterMk cId="806226100" sldId="2147483743"/>
            <pc:sldLayoutMk cId="2605419202" sldId="2147483745"/>
          </pc:sldLayoutMkLst>
        </pc:sldLayoutChg>
        <pc:sldLayoutChg chg="del">
          <pc:chgData name="Andy Roberts" userId="b6430d21-8e5e-4d9c-81e9-e1ae515d6d74" providerId="ADAL" clId="{A2D1683E-1161-4E92-9684-553A94291962}" dt="2017-12-05T20:37:11.940" v="13" actId="2696"/>
          <pc:sldLayoutMkLst>
            <pc:docMk/>
            <pc:sldMasterMk cId="806226100" sldId="2147483743"/>
            <pc:sldLayoutMk cId="176459644" sldId="2147483750"/>
          </pc:sldLayoutMkLst>
        </pc:sldLayoutChg>
      </pc:sldMasterChg>
      <pc:sldMasterChg chg="delSldLayout">
        <pc:chgData name="Andy Roberts" userId="b6430d21-8e5e-4d9c-81e9-e1ae515d6d74" providerId="ADAL" clId="{A2D1683E-1161-4E92-9684-553A94291962}" dt="2017-12-05T20:38:27.048" v="41" actId="2696"/>
        <pc:sldMasterMkLst>
          <pc:docMk/>
          <pc:sldMasterMk cId="792393837" sldId="2147483756"/>
        </pc:sldMasterMkLst>
        <pc:sldLayoutChg chg="del">
          <pc:chgData name="Andy Roberts" userId="b6430d21-8e5e-4d9c-81e9-e1ae515d6d74" providerId="ADAL" clId="{A2D1683E-1161-4E92-9684-553A94291962}" dt="2017-12-05T20:37:27.030" v="14" actId="2696"/>
          <pc:sldLayoutMkLst>
            <pc:docMk/>
            <pc:sldMasterMk cId="792393837" sldId="2147483756"/>
            <pc:sldLayoutMk cId="3827658561" sldId="2147483770"/>
          </pc:sldLayoutMkLst>
        </pc:sldLayoutChg>
        <pc:sldLayoutChg chg="del">
          <pc:chgData name="Andy Roberts" userId="b6430d21-8e5e-4d9c-81e9-e1ae515d6d74" providerId="ADAL" clId="{A2D1683E-1161-4E92-9684-553A94291962}" dt="2017-12-05T20:37:27.726" v="15" actId="2696"/>
          <pc:sldLayoutMkLst>
            <pc:docMk/>
            <pc:sldMasterMk cId="792393837" sldId="2147483756"/>
            <pc:sldLayoutMk cId="2342019855" sldId="2147483771"/>
          </pc:sldLayoutMkLst>
        </pc:sldLayoutChg>
        <pc:sldLayoutChg chg="del">
          <pc:chgData name="Andy Roberts" userId="b6430d21-8e5e-4d9c-81e9-e1ae515d6d74" providerId="ADAL" clId="{A2D1683E-1161-4E92-9684-553A94291962}" dt="2017-12-05T20:37:40.171" v="16" actId="2696"/>
          <pc:sldLayoutMkLst>
            <pc:docMk/>
            <pc:sldMasterMk cId="792393837" sldId="2147483756"/>
            <pc:sldLayoutMk cId="3370418127" sldId="2147483772"/>
          </pc:sldLayoutMkLst>
        </pc:sldLayoutChg>
        <pc:sldLayoutChg chg="del">
          <pc:chgData name="Andy Roberts" userId="b6430d21-8e5e-4d9c-81e9-e1ae515d6d74" providerId="ADAL" clId="{A2D1683E-1161-4E92-9684-553A94291962}" dt="2017-12-05T20:37:41.512" v="17" actId="2696"/>
          <pc:sldLayoutMkLst>
            <pc:docMk/>
            <pc:sldMasterMk cId="792393837" sldId="2147483756"/>
            <pc:sldLayoutMk cId="533568383" sldId="2147483773"/>
          </pc:sldLayoutMkLst>
        </pc:sldLayoutChg>
        <pc:sldLayoutChg chg="del">
          <pc:chgData name="Andy Roberts" userId="b6430d21-8e5e-4d9c-81e9-e1ae515d6d74" providerId="ADAL" clId="{A2D1683E-1161-4E92-9684-553A94291962}" dt="2017-12-05T20:37:42.397" v="18" actId="2696"/>
          <pc:sldLayoutMkLst>
            <pc:docMk/>
            <pc:sldMasterMk cId="792393837" sldId="2147483756"/>
            <pc:sldLayoutMk cId="71741919" sldId="2147483774"/>
          </pc:sldLayoutMkLst>
        </pc:sldLayoutChg>
        <pc:sldLayoutChg chg="del">
          <pc:chgData name="Andy Roberts" userId="b6430d21-8e5e-4d9c-81e9-e1ae515d6d74" providerId="ADAL" clId="{A2D1683E-1161-4E92-9684-553A94291962}" dt="2017-12-05T20:37:43.680" v="19" actId="2696"/>
          <pc:sldLayoutMkLst>
            <pc:docMk/>
            <pc:sldMasterMk cId="792393837" sldId="2147483756"/>
            <pc:sldLayoutMk cId="2934567687" sldId="2147483775"/>
          </pc:sldLayoutMkLst>
        </pc:sldLayoutChg>
        <pc:sldLayoutChg chg="del">
          <pc:chgData name="Andy Roberts" userId="b6430d21-8e5e-4d9c-81e9-e1ae515d6d74" providerId="ADAL" clId="{A2D1683E-1161-4E92-9684-553A94291962}" dt="2017-12-05T20:37:44.640" v="20" actId="2696"/>
          <pc:sldLayoutMkLst>
            <pc:docMk/>
            <pc:sldMasterMk cId="792393837" sldId="2147483756"/>
            <pc:sldLayoutMk cId="3906014178" sldId="2147483776"/>
          </pc:sldLayoutMkLst>
        </pc:sldLayoutChg>
        <pc:sldLayoutChg chg="del">
          <pc:chgData name="Andy Roberts" userId="b6430d21-8e5e-4d9c-81e9-e1ae515d6d74" providerId="ADAL" clId="{A2D1683E-1161-4E92-9684-553A94291962}" dt="2017-12-05T20:37:45.568" v="21" actId="2696"/>
          <pc:sldLayoutMkLst>
            <pc:docMk/>
            <pc:sldMasterMk cId="792393837" sldId="2147483756"/>
            <pc:sldLayoutMk cId="2058408662" sldId="2147483777"/>
          </pc:sldLayoutMkLst>
        </pc:sldLayoutChg>
        <pc:sldLayoutChg chg="del">
          <pc:chgData name="Andy Roberts" userId="b6430d21-8e5e-4d9c-81e9-e1ae515d6d74" providerId="ADAL" clId="{A2D1683E-1161-4E92-9684-553A94291962}" dt="2017-12-05T20:37:46.487" v="22" actId="2696"/>
          <pc:sldLayoutMkLst>
            <pc:docMk/>
            <pc:sldMasterMk cId="792393837" sldId="2147483756"/>
            <pc:sldLayoutMk cId="2971249219" sldId="2147483778"/>
          </pc:sldLayoutMkLst>
        </pc:sldLayoutChg>
        <pc:sldLayoutChg chg="del">
          <pc:chgData name="Andy Roberts" userId="b6430d21-8e5e-4d9c-81e9-e1ae515d6d74" providerId="ADAL" clId="{A2D1683E-1161-4E92-9684-553A94291962}" dt="2017-12-05T20:37:47.324" v="23" actId="2696"/>
          <pc:sldLayoutMkLst>
            <pc:docMk/>
            <pc:sldMasterMk cId="792393837" sldId="2147483756"/>
            <pc:sldLayoutMk cId="3183312410" sldId="2147483779"/>
          </pc:sldLayoutMkLst>
        </pc:sldLayoutChg>
        <pc:sldLayoutChg chg="del">
          <pc:chgData name="Andy Roberts" userId="b6430d21-8e5e-4d9c-81e9-e1ae515d6d74" providerId="ADAL" clId="{A2D1683E-1161-4E92-9684-553A94291962}" dt="2017-12-05T20:37:57.010" v="26" actId="2696"/>
          <pc:sldLayoutMkLst>
            <pc:docMk/>
            <pc:sldMasterMk cId="792393837" sldId="2147483756"/>
            <pc:sldLayoutMk cId="2297308250" sldId="2147483787"/>
          </pc:sldLayoutMkLst>
        </pc:sldLayoutChg>
        <pc:sldLayoutChg chg="del">
          <pc:chgData name="Andy Roberts" userId="b6430d21-8e5e-4d9c-81e9-e1ae515d6d74" providerId="ADAL" clId="{A2D1683E-1161-4E92-9684-553A94291962}" dt="2017-12-05T20:37:52.952" v="24" actId="2696"/>
          <pc:sldLayoutMkLst>
            <pc:docMk/>
            <pc:sldMasterMk cId="792393837" sldId="2147483756"/>
            <pc:sldLayoutMk cId="1258005123" sldId="2147483788"/>
          </pc:sldLayoutMkLst>
        </pc:sldLayoutChg>
        <pc:sldLayoutChg chg="del">
          <pc:chgData name="Andy Roberts" userId="b6430d21-8e5e-4d9c-81e9-e1ae515d6d74" providerId="ADAL" clId="{A2D1683E-1161-4E92-9684-553A94291962}" dt="2017-12-05T20:37:54.825" v="25" actId="2696"/>
          <pc:sldLayoutMkLst>
            <pc:docMk/>
            <pc:sldMasterMk cId="792393837" sldId="2147483756"/>
            <pc:sldLayoutMk cId="3509189347" sldId="2147483789"/>
          </pc:sldLayoutMkLst>
        </pc:sldLayoutChg>
        <pc:sldLayoutChg chg="del">
          <pc:chgData name="Andy Roberts" userId="b6430d21-8e5e-4d9c-81e9-e1ae515d6d74" providerId="ADAL" clId="{A2D1683E-1161-4E92-9684-553A94291962}" dt="2017-12-05T20:37:58.345" v="27" actId="2696"/>
          <pc:sldLayoutMkLst>
            <pc:docMk/>
            <pc:sldMasterMk cId="792393837" sldId="2147483756"/>
            <pc:sldLayoutMk cId="4201148245" sldId="2147483790"/>
          </pc:sldLayoutMkLst>
        </pc:sldLayoutChg>
        <pc:sldLayoutChg chg="del">
          <pc:chgData name="Andy Roberts" userId="b6430d21-8e5e-4d9c-81e9-e1ae515d6d74" providerId="ADAL" clId="{A2D1683E-1161-4E92-9684-553A94291962}" dt="2017-12-05T20:37:59.278" v="28" actId="2696"/>
          <pc:sldLayoutMkLst>
            <pc:docMk/>
            <pc:sldMasterMk cId="792393837" sldId="2147483756"/>
            <pc:sldLayoutMk cId="713598642" sldId="2147483791"/>
          </pc:sldLayoutMkLst>
        </pc:sldLayoutChg>
        <pc:sldLayoutChg chg="del">
          <pc:chgData name="Andy Roberts" userId="b6430d21-8e5e-4d9c-81e9-e1ae515d6d74" providerId="ADAL" clId="{A2D1683E-1161-4E92-9684-553A94291962}" dt="2017-12-05T20:38:00.210" v="29" actId="2696"/>
          <pc:sldLayoutMkLst>
            <pc:docMk/>
            <pc:sldMasterMk cId="792393837" sldId="2147483756"/>
            <pc:sldLayoutMk cId="3011234825" sldId="2147483792"/>
          </pc:sldLayoutMkLst>
        </pc:sldLayoutChg>
        <pc:sldLayoutChg chg="del">
          <pc:chgData name="Andy Roberts" userId="b6430d21-8e5e-4d9c-81e9-e1ae515d6d74" providerId="ADAL" clId="{A2D1683E-1161-4E92-9684-553A94291962}" dt="2017-12-05T20:38:01.353" v="30" actId="2696"/>
          <pc:sldLayoutMkLst>
            <pc:docMk/>
            <pc:sldMasterMk cId="792393837" sldId="2147483756"/>
            <pc:sldLayoutMk cId="3171875561" sldId="2147483793"/>
          </pc:sldLayoutMkLst>
        </pc:sldLayoutChg>
        <pc:sldLayoutChg chg="del">
          <pc:chgData name="Andy Roberts" userId="b6430d21-8e5e-4d9c-81e9-e1ae515d6d74" providerId="ADAL" clId="{A2D1683E-1161-4E92-9684-553A94291962}" dt="2017-12-05T20:38:02.565" v="31" actId="2696"/>
          <pc:sldLayoutMkLst>
            <pc:docMk/>
            <pc:sldMasterMk cId="792393837" sldId="2147483756"/>
            <pc:sldLayoutMk cId="3861650332" sldId="2147483794"/>
          </pc:sldLayoutMkLst>
        </pc:sldLayoutChg>
        <pc:sldLayoutChg chg="del">
          <pc:chgData name="Andy Roberts" userId="b6430d21-8e5e-4d9c-81e9-e1ae515d6d74" providerId="ADAL" clId="{A2D1683E-1161-4E92-9684-553A94291962}" dt="2017-12-05T20:38:06.327" v="32" actId="2696"/>
          <pc:sldLayoutMkLst>
            <pc:docMk/>
            <pc:sldMasterMk cId="792393837" sldId="2147483756"/>
            <pc:sldLayoutMk cId="200407796" sldId="2147483798"/>
          </pc:sldLayoutMkLst>
        </pc:sldLayoutChg>
        <pc:sldLayoutChg chg="del">
          <pc:chgData name="Andy Roberts" userId="b6430d21-8e5e-4d9c-81e9-e1ae515d6d74" providerId="ADAL" clId="{A2D1683E-1161-4E92-9684-553A94291962}" dt="2017-12-05T20:38:11.770" v="33" actId="2696"/>
          <pc:sldLayoutMkLst>
            <pc:docMk/>
            <pc:sldMasterMk cId="792393837" sldId="2147483756"/>
            <pc:sldLayoutMk cId="3156545245" sldId="2147483801"/>
          </pc:sldLayoutMkLst>
        </pc:sldLayoutChg>
        <pc:sldLayoutChg chg="del">
          <pc:chgData name="Andy Roberts" userId="b6430d21-8e5e-4d9c-81e9-e1ae515d6d74" providerId="ADAL" clId="{A2D1683E-1161-4E92-9684-553A94291962}" dt="2017-12-05T20:38:15.016" v="34" actId="2696"/>
          <pc:sldLayoutMkLst>
            <pc:docMk/>
            <pc:sldMasterMk cId="792393837" sldId="2147483756"/>
            <pc:sldLayoutMk cId="68055882" sldId="2147483802"/>
          </pc:sldLayoutMkLst>
        </pc:sldLayoutChg>
        <pc:sldLayoutChg chg="del">
          <pc:chgData name="Andy Roberts" userId="b6430d21-8e5e-4d9c-81e9-e1ae515d6d74" providerId="ADAL" clId="{A2D1683E-1161-4E92-9684-553A94291962}" dt="2017-12-05T20:38:16.271" v="35" actId="2696"/>
          <pc:sldLayoutMkLst>
            <pc:docMk/>
            <pc:sldMasterMk cId="792393837" sldId="2147483756"/>
            <pc:sldLayoutMk cId="2970561724" sldId="2147483803"/>
          </pc:sldLayoutMkLst>
        </pc:sldLayoutChg>
        <pc:sldLayoutChg chg="del">
          <pc:chgData name="Andy Roberts" userId="b6430d21-8e5e-4d9c-81e9-e1ae515d6d74" providerId="ADAL" clId="{A2D1683E-1161-4E92-9684-553A94291962}" dt="2017-12-05T20:38:17.502" v="36" actId="2696"/>
          <pc:sldLayoutMkLst>
            <pc:docMk/>
            <pc:sldMasterMk cId="792393837" sldId="2147483756"/>
            <pc:sldLayoutMk cId="945209862" sldId="2147483804"/>
          </pc:sldLayoutMkLst>
        </pc:sldLayoutChg>
        <pc:sldLayoutChg chg="del">
          <pc:chgData name="Andy Roberts" userId="b6430d21-8e5e-4d9c-81e9-e1ae515d6d74" providerId="ADAL" clId="{A2D1683E-1161-4E92-9684-553A94291962}" dt="2017-12-05T20:38:18.636" v="37" actId="2696"/>
          <pc:sldLayoutMkLst>
            <pc:docMk/>
            <pc:sldMasterMk cId="792393837" sldId="2147483756"/>
            <pc:sldLayoutMk cId="1249411130" sldId="2147483805"/>
          </pc:sldLayoutMkLst>
        </pc:sldLayoutChg>
        <pc:sldLayoutChg chg="del">
          <pc:chgData name="Andy Roberts" userId="b6430d21-8e5e-4d9c-81e9-e1ae515d6d74" providerId="ADAL" clId="{A2D1683E-1161-4E92-9684-553A94291962}" dt="2017-12-05T20:38:19.620" v="38" actId="2696"/>
          <pc:sldLayoutMkLst>
            <pc:docMk/>
            <pc:sldMasterMk cId="792393837" sldId="2147483756"/>
            <pc:sldLayoutMk cId="3068223280" sldId="2147483806"/>
          </pc:sldLayoutMkLst>
        </pc:sldLayoutChg>
        <pc:sldLayoutChg chg="del">
          <pc:chgData name="Andy Roberts" userId="b6430d21-8e5e-4d9c-81e9-e1ae515d6d74" providerId="ADAL" clId="{A2D1683E-1161-4E92-9684-553A94291962}" dt="2017-12-05T20:38:20.525" v="39" actId="2696"/>
          <pc:sldLayoutMkLst>
            <pc:docMk/>
            <pc:sldMasterMk cId="792393837" sldId="2147483756"/>
            <pc:sldLayoutMk cId="3185501216" sldId="2147483807"/>
          </pc:sldLayoutMkLst>
        </pc:sldLayoutChg>
        <pc:sldLayoutChg chg="del">
          <pc:chgData name="Andy Roberts" userId="b6430d21-8e5e-4d9c-81e9-e1ae515d6d74" providerId="ADAL" clId="{A2D1683E-1161-4E92-9684-553A94291962}" dt="2017-12-05T20:38:21.458" v="40" actId="2696"/>
          <pc:sldLayoutMkLst>
            <pc:docMk/>
            <pc:sldMasterMk cId="792393837" sldId="2147483756"/>
            <pc:sldLayoutMk cId="4238614197" sldId="2147483808"/>
          </pc:sldLayoutMkLst>
        </pc:sldLayoutChg>
        <pc:sldLayoutChg chg="del">
          <pc:chgData name="Andy Roberts" userId="b6430d21-8e5e-4d9c-81e9-e1ae515d6d74" providerId="ADAL" clId="{A2D1683E-1161-4E92-9684-553A94291962}" dt="2017-12-05T20:38:27.048" v="41" actId="2696"/>
          <pc:sldLayoutMkLst>
            <pc:docMk/>
            <pc:sldMasterMk cId="792393837" sldId="2147483756"/>
            <pc:sldLayoutMk cId="288741226" sldId="2147483811"/>
          </pc:sldLayoutMkLst>
        </pc:sldLayoutChg>
      </pc:sldMasterChg>
    </pc:docChg>
  </pc:docChgLst>
  <pc:docChgLst>
    <pc:chgData name="Carla Staeben" userId="870ef43d-5760-4508-a20a-432a8f544527" providerId="ADAL" clId="{43160553-C7D2-4040-9BB5-FFD5ECE90A56}"/>
    <pc:docChg chg="undo custSel delSld modSld modSection">
      <pc:chgData name="Carla Staeben" userId="870ef43d-5760-4508-a20a-432a8f544527" providerId="ADAL" clId="{43160553-C7D2-4040-9BB5-FFD5ECE90A56}" dt="2017-08-04T18:19:01.936" v="6" actId="478"/>
      <pc:docMkLst>
        <pc:docMk/>
      </pc:docMkLst>
      <pc:sldChg chg="del">
        <pc:chgData name="Carla Staeben" userId="870ef43d-5760-4508-a20a-432a8f544527" providerId="ADAL" clId="{43160553-C7D2-4040-9BB5-FFD5ECE90A56}" dt="2017-08-04T18:17:40.087" v="0" actId="2696"/>
        <pc:sldMkLst>
          <pc:docMk/>
          <pc:sldMk cId="3348897500" sldId="284"/>
        </pc:sldMkLst>
      </pc:sldChg>
      <pc:sldChg chg="del">
        <pc:chgData name="Carla Staeben" userId="870ef43d-5760-4508-a20a-432a8f544527" providerId="ADAL" clId="{43160553-C7D2-4040-9BB5-FFD5ECE90A56}" dt="2017-08-04T18:17:40.121" v="1" actId="2696"/>
        <pc:sldMkLst>
          <pc:docMk/>
          <pc:sldMk cId="3039034131" sldId="285"/>
        </pc:sldMkLst>
      </pc:sldChg>
      <pc:sldChg chg="del">
        <pc:chgData name="Carla Staeben" userId="870ef43d-5760-4508-a20a-432a8f544527" providerId="ADAL" clId="{43160553-C7D2-4040-9BB5-FFD5ECE90A56}" dt="2017-08-04T18:17:55.071" v="2" actId="2696"/>
        <pc:sldMkLst>
          <pc:docMk/>
          <pc:sldMk cId="321064469" sldId="307"/>
        </pc:sldMkLst>
      </pc:sldChg>
      <pc:sldChg chg="addSp delSp modSp">
        <pc:chgData name="Carla Staeben" userId="870ef43d-5760-4508-a20a-432a8f544527" providerId="ADAL" clId="{43160553-C7D2-4040-9BB5-FFD5ECE90A56}" dt="2017-08-04T18:19:01.936" v="6" actId="478"/>
        <pc:sldMkLst>
          <pc:docMk/>
          <pc:sldMk cId="2910429092" sldId="374"/>
        </pc:sldMkLst>
        <pc:spChg chg="add del">
          <ac:chgData name="Carla Staeben" userId="870ef43d-5760-4508-a20a-432a8f544527" providerId="ADAL" clId="{43160553-C7D2-4040-9BB5-FFD5ECE90A56}" dt="2017-08-04T18:19:01.936" v="6" actId="478"/>
          <ac:spMkLst>
            <pc:docMk/>
            <pc:sldMk cId="2910429092" sldId="374"/>
            <ac:spMk id="5" creationId="{00000000-0000-0000-0000-000000000000}"/>
          </ac:spMkLst>
        </pc:spChg>
        <pc:spChg chg="mod">
          <ac:chgData name="Carla Staeben" userId="870ef43d-5760-4508-a20a-432a8f544527" providerId="ADAL" clId="{43160553-C7D2-4040-9BB5-FFD5ECE90A56}" dt="2017-08-04T18:18:53.671" v="4" actId="6549"/>
          <ac:spMkLst>
            <pc:docMk/>
            <pc:sldMk cId="2910429092" sldId="374"/>
            <ac:spMk id="15" creationId="{00000000-0000-0000-0000-000000000000}"/>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DD4CC13-DEC9-4281-A928-82B4A4DA255F}"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E24C3A3D-9EB0-457A-9692-F97ABFDDDEA0}">
      <dgm:prSet phldrT="[Text]"/>
      <dgm:spPr/>
      <dgm:t>
        <a:bodyPr/>
        <a:lstStyle/>
        <a:p>
          <a:r>
            <a:rPr lang="en-US" dirty="0"/>
            <a:t>Design of Batch processing &amp; Interactive Queries</a:t>
          </a:r>
        </a:p>
      </dgm:t>
    </dgm:pt>
    <dgm:pt modelId="{E8212E5D-9DDB-4A41-8FF6-0875F1510FCB}" type="parTrans" cxnId="{05690577-FC64-4B28-B0EA-0F9C2E294838}">
      <dgm:prSet/>
      <dgm:spPr/>
      <dgm:t>
        <a:bodyPr/>
        <a:lstStyle/>
        <a:p>
          <a:endParaRPr lang="en-US"/>
        </a:p>
      </dgm:t>
    </dgm:pt>
    <dgm:pt modelId="{57D75005-68BF-48B7-AAC4-601DC4D6623C}" type="sibTrans" cxnId="{05690577-FC64-4B28-B0EA-0F9C2E294838}">
      <dgm:prSet/>
      <dgm:spPr/>
      <dgm:t>
        <a:bodyPr/>
        <a:lstStyle/>
        <a:p>
          <a:endParaRPr lang="en-US"/>
        </a:p>
      </dgm:t>
    </dgm:pt>
    <dgm:pt modelId="{985D639F-62E2-44AD-A033-95886179E23A}">
      <dgm:prSet phldrT="[Text]"/>
      <dgm:spPr/>
      <dgm:t>
        <a:bodyPr/>
        <a:lstStyle/>
        <a:p>
          <a:r>
            <a:rPr lang="en-US" dirty="0"/>
            <a:t>Design for Security</a:t>
          </a:r>
        </a:p>
      </dgm:t>
    </dgm:pt>
    <dgm:pt modelId="{54C9FF66-958D-4809-A050-EB4E5DB17B46}" type="parTrans" cxnId="{4A3653BC-5425-448A-AF80-3FE04CCB4624}">
      <dgm:prSet/>
      <dgm:spPr/>
      <dgm:t>
        <a:bodyPr/>
        <a:lstStyle/>
        <a:p>
          <a:endParaRPr lang="en-US"/>
        </a:p>
      </dgm:t>
    </dgm:pt>
    <dgm:pt modelId="{A3212B54-657F-4344-9B45-A2962B7771C5}" type="sibTrans" cxnId="{4A3653BC-5425-448A-AF80-3FE04CCB4624}">
      <dgm:prSet/>
      <dgm:spPr/>
      <dgm:t>
        <a:bodyPr/>
        <a:lstStyle/>
        <a:p>
          <a:endParaRPr lang="en-US"/>
        </a:p>
      </dgm:t>
    </dgm:pt>
    <dgm:pt modelId="{78CD5DFC-4B8C-4246-9E10-3BCC354E575E}">
      <dgm:prSet phldrT="[Text]"/>
      <dgm:spPr/>
      <dgm:t>
        <a:bodyPr/>
        <a:lstStyle/>
        <a:p>
          <a:r>
            <a:rPr lang="en-US" dirty="0"/>
            <a:t>Design and Provision compute clusters</a:t>
          </a:r>
        </a:p>
      </dgm:t>
    </dgm:pt>
    <dgm:pt modelId="{6247BA0C-94F1-4648-9288-8EDB3E0455F4}" type="sibTrans" cxnId="{A6EACC32-8693-45F3-B2A1-1EEBA5F4DED8}">
      <dgm:prSet/>
      <dgm:spPr/>
      <dgm:t>
        <a:bodyPr/>
        <a:lstStyle/>
        <a:p>
          <a:endParaRPr lang="en-US"/>
        </a:p>
      </dgm:t>
    </dgm:pt>
    <dgm:pt modelId="{7DCE7124-ED11-4DB6-A29B-7F12E6A2EC61}" type="parTrans" cxnId="{A6EACC32-8693-45F3-B2A1-1EEBA5F4DED8}">
      <dgm:prSet/>
      <dgm:spPr/>
      <dgm:t>
        <a:bodyPr/>
        <a:lstStyle/>
        <a:p>
          <a:endParaRPr lang="en-US"/>
        </a:p>
      </dgm:t>
    </dgm:pt>
    <dgm:pt modelId="{849A1B87-900A-437F-A363-8FB8E3AC7552}">
      <dgm:prSet phldrT="[Text]"/>
      <dgm:spPr/>
      <dgm:t>
        <a:bodyPr/>
        <a:lstStyle/>
        <a:p>
          <a:r>
            <a:rPr lang="en-US" b="1" dirty="0">
              <a:solidFill>
                <a:srgbClr val="FFFF00"/>
              </a:solidFill>
            </a:rPr>
            <a:t>Data Ingestion</a:t>
          </a:r>
        </a:p>
      </dgm:t>
    </dgm:pt>
    <dgm:pt modelId="{DEFE8854-317C-4D85-A34D-F1D9604AC91E}" type="parTrans" cxnId="{AC4CDBAA-9C8B-4D25-8B0B-5E30EA6D817C}">
      <dgm:prSet/>
      <dgm:spPr/>
      <dgm:t>
        <a:bodyPr/>
        <a:lstStyle/>
        <a:p>
          <a:endParaRPr lang="en-US"/>
        </a:p>
      </dgm:t>
    </dgm:pt>
    <dgm:pt modelId="{9C09C0DB-E39C-43A7-9208-C51F444C0ED6}" type="sibTrans" cxnId="{AC4CDBAA-9C8B-4D25-8B0B-5E30EA6D817C}">
      <dgm:prSet/>
      <dgm:spPr/>
      <dgm:t>
        <a:bodyPr/>
        <a:lstStyle/>
        <a:p>
          <a:endParaRPr lang="en-US"/>
        </a:p>
      </dgm:t>
    </dgm:pt>
    <dgm:pt modelId="{D941C651-52D6-4A4E-9724-9A0C00ECFD4E}" type="pres">
      <dgm:prSet presAssocID="{9DD4CC13-DEC9-4281-A928-82B4A4DA255F}" presName="linear" presStyleCnt="0">
        <dgm:presLayoutVars>
          <dgm:dir/>
          <dgm:animLvl val="lvl"/>
          <dgm:resizeHandles val="exact"/>
        </dgm:presLayoutVars>
      </dgm:prSet>
      <dgm:spPr/>
    </dgm:pt>
    <dgm:pt modelId="{14A5195B-1FBA-40B3-9408-A3D798071E0C}" type="pres">
      <dgm:prSet presAssocID="{849A1B87-900A-437F-A363-8FB8E3AC7552}" presName="parentLin" presStyleCnt="0"/>
      <dgm:spPr/>
    </dgm:pt>
    <dgm:pt modelId="{A57743FD-3FD1-42FE-91B3-B12BFA8A218D}" type="pres">
      <dgm:prSet presAssocID="{849A1B87-900A-437F-A363-8FB8E3AC7552}" presName="parentLeftMargin" presStyleLbl="node1" presStyleIdx="0" presStyleCnt="4"/>
      <dgm:spPr/>
    </dgm:pt>
    <dgm:pt modelId="{DA3F7DCA-4A1A-49A8-8B99-A30566ED4C4F}" type="pres">
      <dgm:prSet presAssocID="{849A1B87-900A-437F-A363-8FB8E3AC7552}" presName="parentText" presStyleLbl="node1" presStyleIdx="0" presStyleCnt="4">
        <dgm:presLayoutVars>
          <dgm:chMax val="0"/>
          <dgm:bulletEnabled val="1"/>
        </dgm:presLayoutVars>
      </dgm:prSet>
      <dgm:spPr/>
    </dgm:pt>
    <dgm:pt modelId="{E444AA1F-1814-4920-8942-51A2188ECD5E}" type="pres">
      <dgm:prSet presAssocID="{849A1B87-900A-437F-A363-8FB8E3AC7552}" presName="negativeSpace" presStyleCnt="0"/>
      <dgm:spPr/>
    </dgm:pt>
    <dgm:pt modelId="{9E2D0625-CBAE-4D9E-8C28-B06BC1EE0CE5}" type="pres">
      <dgm:prSet presAssocID="{849A1B87-900A-437F-A363-8FB8E3AC7552}" presName="childText" presStyleLbl="conFgAcc1" presStyleIdx="0" presStyleCnt="4">
        <dgm:presLayoutVars>
          <dgm:bulletEnabled val="1"/>
        </dgm:presLayoutVars>
      </dgm:prSet>
      <dgm:spPr/>
    </dgm:pt>
    <dgm:pt modelId="{2A76BB72-D3F0-4FAE-B74B-026875EE919B}" type="pres">
      <dgm:prSet presAssocID="{9C09C0DB-E39C-43A7-9208-C51F444C0ED6}" presName="spaceBetweenRectangles" presStyleCnt="0"/>
      <dgm:spPr/>
    </dgm:pt>
    <dgm:pt modelId="{E99406B9-BAE0-4E31-B3E6-853D50439E71}" type="pres">
      <dgm:prSet presAssocID="{78CD5DFC-4B8C-4246-9E10-3BCC354E575E}" presName="parentLin" presStyleCnt="0"/>
      <dgm:spPr/>
    </dgm:pt>
    <dgm:pt modelId="{5800143E-DAD7-49D6-8380-CFFD570C0BF9}" type="pres">
      <dgm:prSet presAssocID="{78CD5DFC-4B8C-4246-9E10-3BCC354E575E}" presName="parentLeftMargin" presStyleLbl="node1" presStyleIdx="0" presStyleCnt="4"/>
      <dgm:spPr/>
    </dgm:pt>
    <dgm:pt modelId="{48874FE4-00DA-453E-B084-78E5D0DE2D58}" type="pres">
      <dgm:prSet presAssocID="{78CD5DFC-4B8C-4246-9E10-3BCC354E575E}" presName="parentText" presStyleLbl="node1" presStyleIdx="1" presStyleCnt="4">
        <dgm:presLayoutVars>
          <dgm:chMax val="0"/>
          <dgm:bulletEnabled val="1"/>
        </dgm:presLayoutVars>
      </dgm:prSet>
      <dgm:spPr/>
    </dgm:pt>
    <dgm:pt modelId="{7008F254-D28E-44D9-A32C-A9EFB3D1C420}" type="pres">
      <dgm:prSet presAssocID="{78CD5DFC-4B8C-4246-9E10-3BCC354E575E}" presName="negativeSpace" presStyleCnt="0"/>
      <dgm:spPr/>
    </dgm:pt>
    <dgm:pt modelId="{A33DF34A-C981-4260-A6A0-96A2D1D07D28}" type="pres">
      <dgm:prSet presAssocID="{78CD5DFC-4B8C-4246-9E10-3BCC354E575E}" presName="childText" presStyleLbl="conFgAcc1" presStyleIdx="1" presStyleCnt="4">
        <dgm:presLayoutVars>
          <dgm:bulletEnabled val="1"/>
        </dgm:presLayoutVars>
      </dgm:prSet>
      <dgm:spPr/>
    </dgm:pt>
    <dgm:pt modelId="{DAF3E745-E10F-4303-9300-BFD2EBBBF382}" type="pres">
      <dgm:prSet presAssocID="{6247BA0C-94F1-4648-9288-8EDB3E0455F4}" presName="spaceBetweenRectangles" presStyleCnt="0"/>
      <dgm:spPr/>
    </dgm:pt>
    <dgm:pt modelId="{FBB3B595-9CCC-4CEB-B6A1-2B60FA54A69D}" type="pres">
      <dgm:prSet presAssocID="{E24C3A3D-9EB0-457A-9692-F97ABFDDDEA0}" presName="parentLin" presStyleCnt="0"/>
      <dgm:spPr/>
    </dgm:pt>
    <dgm:pt modelId="{AE4EA73C-3122-4A12-8BF3-633A775643E3}" type="pres">
      <dgm:prSet presAssocID="{E24C3A3D-9EB0-457A-9692-F97ABFDDDEA0}" presName="parentLeftMargin" presStyleLbl="node1" presStyleIdx="1" presStyleCnt="4"/>
      <dgm:spPr/>
    </dgm:pt>
    <dgm:pt modelId="{681D8277-F44E-4020-BA8F-B21DE9D22129}" type="pres">
      <dgm:prSet presAssocID="{E24C3A3D-9EB0-457A-9692-F97ABFDDDEA0}" presName="parentText" presStyleLbl="node1" presStyleIdx="2" presStyleCnt="4">
        <dgm:presLayoutVars>
          <dgm:chMax val="0"/>
          <dgm:bulletEnabled val="1"/>
        </dgm:presLayoutVars>
      </dgm:prSet>
      <dgm:spPr/>
    </dgm:pt>
    <dgm:pt modelId="{B0265A0C-0818-425F-B212-4419026CB951}" type="pres">
      <dgm:prSet presAssocID="{E24C3A3D-9EB0-457A-9692-F97ABFDDDEA0}" presName="negativeSpace" presStyleCnt="0"/>
      <dgm:spPr/>
    </dgm:pt>
    <dgm:pt modelId="{72D6B662-1932-47A5-9FA8-94AE9E841ECC}" type="pres">
      <dgm:prSet presAssocID="{E24C3A3D-9EB0-457A-9692-F97ABFDDDEA0}" presName="childText" presStyleLbl="conFgAcc1" presStyleIdx="2" presStyleCnt="4">
        <dgm:presLayoutVars>
          <dgm:bulletEnabled val="1"/>
        </dgm:presLayoutVars>
      </dgm:prSet>
      <dgm:spPr/>
    </dgm:pt>
    <dgm:pt modelId="{B6605D35-558F-4946-8A45-D15686C53852}" type="pres">
      <dgm:prSet presAssocID="{57D75005-68BF-48B7-AAC4-601DC4D6623C}" presName="spaceBetweenRectangles" presStyleCnt="0"/>
      <dgm:spPr/>
    </dgm:pt>
    <dgm:pt modelId="{8254D5EA-6827-4028-8A6E-EB9BAD579551}" type="pres">
      <dgm:prSet presAssocID="{985D639F-62E2-44AD-A033-95886179E23A}" presName="parentLin" presStyleCnt="0"/>
      <dgm:spPr/>
    </dgm:pt>
    <dgm:pt modelId="{7BD2CE33-F020-4C4A-8DCA-F2946BC1463E}" type="pres">
      <dgm:prSet presAssocID="{985D639F-62E2-44AD-A033-95886179E23A}" presName="parentLeftMargin" presStyleLbl="node1" presStyleIdx="2" presStyleCnt="4"/>
      <dgm:spPr/>
    </dgm:pt>
    <dgm:pt modelId="{36A3316B-E85E-4FA1-ABEF-A26090E5713B}" type="pres">
      <dgm:prSet presAssocID="{985D639F-62E2-44AD-A033-95886179E23A}" presName="parentText" presStyleLbl="node1" presStyleIdx="3" presStyleCnt="4">
        <dgm:presLayoutVars>
          <dgm:chMax val="0"/>
          <dgm:bulletEnabled val="1"/>
        </dgm:presLayoutVars>
      </dgm:prSet>
      <dgm:spPr/>
    </dgm:pt>
    <dgm:pt modelId="{53A5562F-69E6-476D-8FCB-7468F6ED3035}" type="pres">
      <dgm:prSet presAssocID="{985D639F-62E2-44AD-A033-95886179E23A}" presName="negativeSpace" presStyleCnt="0"/>
      <dgm:spPr/>
    </dgm:pt>
    <dgm:pt modelId="{0AD4B49D-F363-4E5F-8832-8106C7E24E55}" type="pres">
      <dgm:prSet presAssocID="{985D639F-62E2-44AD-A033-95886179E23A}" presName="childText" presStyleLbl="conFgAcc1" presStyleIdx="3" presStyleCnt="4">
        <dgm:presLayoutVars>
          <dgm:bulletEnabled val="1"/>
        </dgm:presLayoutVars>
      </dgm:prSet>
      <dgm:spPr/>
    </dgm:pt>
  </dgm:ptLst>
  <dgm:cxnLst>
    <dgm:cxn modelId="{A6EACC32-8693-45F3-B2A1-1EEBA5F4DED8}" srcId="{9DD4CC13-DEC9-4281-A928-82B4A4DA255F}" destId="{78CD5DFC-4B8C-4246-9E10-3BCC354E575E}" srcOrd="1" destOrd="0" parTransId="{7DCE7124-ED11-4DB6-A29B-7F12E6A2EC61}" sibTransId="{6247BA0C-94F1-4648-9288-8EDB3E0455F4}"/>
    <dgm:cxn modelId="{8574E342-9236-40CD-9992-49BC40E3046C}" type="presOf" srcId="{9DD4CC13-DEC9-4281-A928-82B4A4DA255F}" destId="{D941C651-52D6-4A4E-9724-9A0C00ECFD4E}" srcOrd="0" destOrd="0" presId="urn:microsoft.com/office/officeart/2005/8/layout/list1"/>
    <dgm:cxn modelId="{ABDC7E65-9E58-40E6-8C72-FDC18F7A5C6A}" type="presOf" srcId="{78CD5DFC-4B8C-4246-9E10-3BCC354E575E}" destId="{5800143E-DAD7-49D6-8380-CFFD570C0BF9}" srcOrd="0" destOrd="0" presId="urn:microsoft.com/office/officeart/2005/8/layout/list1"/>
    <dgm:cxn modelId="{94EAB074-87DF-4DD0-9C3A-2C857E8A9101}" type="presOf" srcId="{E24C3A3D-9EB0-457A-9692-F97ABFDDDEA0}" destId="{681D8277-F44E-4020-BA8F-B21DE9D22129}" srcOrd="1" destOrd="0" presId="urn:microsoft.com/office/officeart/2005/8/layout/list1"/>
    <dgm:cxn modelId="{05690577-FC64-4B28-B0EA-0F9C2E294838}" srcId="{9DD4CC13-DEC9-4281-A928-82B4A4DA255F}" destId="{E24C3A3D-9EB0-457A-9692-F97ABFDDDEA0}" srcOrd="2" destOrd="0" parTransId="{E8212E5D-9DDB-4A41-8FF6-0875F1510FCB}" sibTransId="{57D75005-68BF-48B7-AAC4-601DC4D6623C}"/>
    <dgm:cxn modelId="{A1752678-1811-4CC1-A1A6-3F33CD6DB2BE}" type="presOf" srcId="{849A1B87-900A-437F-A363-8FB8E3AC7552}" destId="{A57743FD-3FD1-42FE-91B3-B12BFA8A218D}" srcOrd="0" destOrd="0" presId="urn:microsoft.com/office/officeart/2005/8/layout/list1"/>
    <dgm:cxn modelId="{CE12128B-8183-4A77-B5D8-BA268B9B1BAE}" type="presOf" srcId="{78CD5DFC-4B8C-4246-9E10-3BCC354E575E}" destId="{48874FE4-00DA-453E-B084-78E5D0DE2D58}" srcOrd="1" destOrd="0" presId="urn:microsoft.com/office/officeart/2005/8/layout/list1"/>
    <dgm:cxn modelId="{E7BB7095-D71A-49E4-A0BF-AB4CCD1FC87A}" type="presOf" srcId="{985D639F-62E2-44AD-A033-95886179E23A}" destId="{7BD2CE33-F020-4C4A-8DCA-F2946BC1463E}" srcOrd="0" destOrd="0" presId="urn:microsoft.com/office/officeart/2005/8/layout/list1"/>
    <dgm:cxn modelId="{E8729B95-345E-4630-9F8A-E3CD3A2E3712}" type="presOf" srcId="{E24C3A3D-9EB0-457A-9692-F97ABFDDDEA0}" destId="{AE4EA73C-3122-4A12-8BF3-633A775643E3}" srcOrd="0" destOrd="0" presId="urn:microsoft.com/office/officeart/2005/8/layout/list1"/>
    <dgm:cxn modelId="{AC4CDBAA-9C8B-4D25-8B0B-5E30EA6D817C}" srcId="{9DD4CC13-DEC9-4281-A928-82B4A4DA255F}" destId="{849A1B87-900A-437F-A363-8FB8E3AC7552}" srcOrd="0" destOrd="0" parTransId="{DEFE8854-317C-4D85-A34D-F1D9604AC91E}" sibTransId="{9C09C0DB-E39C-43A7-9208-C51F444C0ED6}"/>
    <dgm:cxn modelId="{4A3653BC-5425-448A-AF80-3FE04CCB4624}" srcId="{9DD4CC13-DEC9-4281-A928-82B4A4DA255F}" destId="{985D639F-62E2-44AD-A033-95886179E23A}" srcOrd="3" destOrd="0" parTransId="{54C9FF66-958D-4809-A050-EB4E5DB17B46}" sibTransId="{A3212B54-657F-4344-9B45-A2962B7771C5}"/>
    <dgm:cxn modelId="{D15FCAE0-A3C2-42B9-A1EA-13C8F06632F7}" type="presOf" srcId="{849A1B87-900A-437F-A363-8FB8E3AC7552}" destId="{DA3F7DCA-4A1A-49A8-8B99-A30566ED4C4F}" srcOrd="1" destOrd="0" presId="urn:microsoft.com/office/officeart/2005/8/layout/list1"/>
    <dgm:cxn modelId="{9BBCEFF5-F54B-400D-8DFF-FBDF47CF6351}" type="presOf" srcId="{985D639F-62E2-44AD-A033-95886179E23A}" destId="{36A3316B-E85E-4FA1-ABEF-A26090E5713B}" srcOrd="1" destOrd="0" presId="urn:microsoft.com/office/officeart/2005/8/layout/list1"/>
    <dgm:cxn modelId="{DC58DF7E-1923-404C-B5C6-CAA245B555D1}" type="presParOf" srcId="{D941C651-52D6-4A4E-9724-9A0C00ECFD4E}" destId="{14A5195B-1FBA-40B3-9408-A3D798071E0C}" srcOrd="0" destOrd="0" presId="urn:microsoft.com/office/officeart/2005/8/layout/list1"/>
    <dgm:cxn modelId="{1EBCE0C9-AE39-479B-A0D9-DA69866BA055}" type="presParOf" srcId="{14A5195B-1FBA-40B3-9408-A3D798071E0C}" destId="{A57743FD-3FD1-42FE-91B3-B12BFA8A218D}" srcOrd="0" destOrd="0" presId="urn:microsoft.com/office/officeart/2005/8/layout/list1"/>
    <dgm:cxn modelId="{22D17B43-CBC5-4D89-959A-61BE815754D8}" type="presParOf" srcId="{14A5195B-1FBA-40B3-9408-A3D798071E0C}" destId="{DA3F7DCA-4A1A-49A8-8B99-A30566ED4C4F}" srcOrd="1" destOrd="0" presId="urn:microsoft.com/office/officeart/2005/8/layout/list1"/>
    <dgm:cxn modelId="{5B745E17-5AF6-4100-AC18-5AD41F916B98}" type="presParOf" srcId="{D941C651-52D6-4A4E-9724-9A0C00ECFD4E}" destId="{E444AA1F-1814-4920-8942-51A2188ECD5E}" srcOrd="1" destOrd="0" presId="urn:microsoft.com/office/officeart/2005/8/layout/list1"/>
    <dgm:cxn modelId="{953C44EA-C428-4C63-A13A-D7FC6C61D4A9}" type="presParOf" srcId="{D941C651-52D6-4A4E-9724-9A0C00ECFD4E}" destId="{9E2D0625-CBAE-4D9E-8C28-B06BC1EE0CE5}" srcOrd="2" destOrd="0" presId="urn:microsoft.com/office/officeart/2005/8/layout/list1"/>
    <dgm:cxn modelId="{F2D89510-ABBA-418F-8F6B-BE54727AEA13}" type="presParOf" srcId="{D941C651-52D6-4A4E-9724-9A0C00ECFD4E}" destId="{2A76BB72-D3F0-4FAE-B74B-026875EE919B}" srcOrd="3" destOrd="0" presId="urn:microsoft.com/office/officeart/2005/8/layout/list1"/>
    <dgm:cxn modelId="{FBAE2614-38AA-4865-879D-749BE9BFE87F}" type="presParOf" srcId="{D941C651-52D6-4A4E-9724-9A0C00ECFD4E}" destId="{E99406B9-BAE0-4E31-B3E6-853D50439E71}" srcOrd="4" destOrd="0" presId="urn:microsoft.com/office/officeart/2005/8/layout/list1"/>
    <dgm:cxn modelId="{A3EA3B83-2E59-4009-9FE8-5DFE11731E56}" type="presParOf" srcId="{E99406B9-BAE0-4E31-B3E6-853D50439E71}" destId="{5800143E-DAD7-49D6-8380-CFFD570C0BF9}" srcOrd="0" destOrd="0" presId="urn:microsoft.com/office/officeart/2005/8/layout/list1"/>
    <dgm:cxn modelId="{B431692F-D377-4B8D-884E-134F2F77AD86}" type="presParOf" srcId="{E99406B9-BAE0-4E31-B3E6-853D50439E71}" destId="{48874FE4-00DA-453E-B084-78E5D0DE2D58}" srcOrd="1" destOrd="0" presId="urn:microsoft.com/office/officeart/2005/8/layout/list1"/>
    <dgm:cxn modelId="{47F8C0B5-A508-4B6B-A529-F2CCF9E501E0}" type="presParOf" srcId="{D941C651-52D6-4A4E-9724-9A0C00ECFD4E}" destId="{7008F254-D28E-44D9-A32C-A9EFB3D1C420}" srcOrd="5" destOrd="0" presId="urn:microsoft.com/office/officeart/2005/8/layout/list1"/>
    <dgm:cxn modelId="{639BDA11-EDE7-4D0D-BDA9-86ADD4CC6CAC}" type="presParOf" srcId="{D941C651-52D6-4A4E-9724-9A0C00ECFD4E}" destId="{A33DF34A-C981-4260-A6A0-96A2D1D07D28}" srcOrd="6" destOrd="0" presId="urn:microsoft.com/office/officeart/2005/8/layout/list1"/>
    <dgm:cxn modelId="{22F24867-057B-4094-B850-5F4D70B30BEA}" type="presParOf" srcId="{D941C651-52D6-4A4E-9724-9A0C00ECFD4E}" destId="{DAF3E745-E10F-4303-9300-BFD2EBBBF382}" srcOrd="7" destOrd="0" presId="urn:microsoft.com/office/officeart/2005/8/layout/list1"/>
    <dgm:cxn modelId="{88E5C66C-3508-4DEF-96EE-C986D24D90D2}" type="presParOf" srcId="{D941C651-52D6-4A4E-9724-9A0C00ECFD4E}" destId="{FBB3B595-9CCC-4CEB-B6A1-2B60FA54A69D}" srcOrd="8" destOrd="0" presId="urn:microsoft.com/office/officeart/2005/8/layout/list1"/>
    <dgm:cxn modelId="{E6064352-919E-4419-BBF7-F63EA3291301}" type="presParOf" srcId="{FBB3B595-9CCC-4CEB-B6A1-2B60FA54A69D}" destId="{AE4EA73C-3122-4A12-8BF3-633A775643E3}" srcOrd="0" destOrd="0" presId="urn:microsoft.com/office/officeart/2005/8/layout/list1"/>
    <dgm:cxn modelId="{268FEDFE-AF3A-4C72-B39A-8482590B4391}" type="presParOf" srcId="{FBB3B595-9CCC-4CEB-B6A1-2B60FA54A69D}" destId="{681D8277-F44E-4020-BA8F-B21DE9D22129}" srcOrd="1" destOrd="0" presId="urn:microsoft.com/office/officeart/2005/8/layout/list1"/>
    <dgm:cxn modelId="{D45C3445-C854-46D4-98E6-770425C0F970}" type="presParOf" srcId="{D941C651-52D6-4A4E-9724-9A0C00ECFD4E}" destId="{B0265A0C-0818-425F-B212-4419026CB951}" srcOrd="9" destOrd="0" presId="urn:microsoft.com/office/officeart/2005/8/layout/list1"/>
    <dgm:cxn modelId="{67F947BD-A97F-4351-A3A3-308F93C16A25}" type="presParOf" srcId="{D941C651-52D6-4A4E-9724-9A0C00ECFD4E}" destId="{72D6B662-1932-47A5-9FA8-94AE9E841ECC}" srcOrd="10" destOrd="0" presId="urn:microsoft.com/office/officeart/2005/8/layout/list1"/>
    <dgm:cxn modelId="{100F0EF3-CA9B-46CA-B053-63D6D8F01202}" type="presParOf" srcId="{D941C651-52D6-4A4E-9724-9A0C00ECFD4E}" destId="{B6605D35-558F-4946-8A45-D15686C53852}" srcOrd="11" destOrd="0" presId="urn:microsoft.com/office/officeart/2005/8/layout/list1"/>
    <dgm:cxn modelId="{B16E154A-CBDC-428F-B482-9AAE98B35DDC}" type="presParOf" srcId="{D941C651-52D6-4A4E-9724-9A0C00ECFD4E}" destId="{8254D5EA-6827-4028-8A6E-EB9BAD579551}" srcOrd="12" destOrd="0" presId="urn:microsoft.com/office/officeart/2005/8/layout/list1"/>
    <dgm:cxn modelId="{8E5077E0-C1B9-4BA3-B2F0-4DF43ECECD0D}" type="presParOf" srcId="{8254D5EA-6827-4028-8A6E-EB9BAD579551}" destId="{7BD2CE33-F020-4C4A-8DCA-F2946BC1463E}" srcOrd="0" destOrd="0" presId="urn:microsoft.com/office/officeart/2005/8/layout/list1"/>
    <dgm:cxn modelId="{95E4BED3-3E87-4E2C-B983-F80B7756A63C}" type="presParOf" srcId="{8254D5EA-6827-4028-8A6E-EB9BAD579551}" destId="{36A3316B-E85E-4FA1-ABEF-A26090E5713B}" srcOrd="1" destOrd="0" presId="urn:microsoft.com/office/officeart/2005/8/layout/list1"/>
    <dgm:cxn modelId="{760488A0-E57D-44B6-AF52-A3D7C4B49E55}" type="presParOf" srcId="{D941C651-52D6-4A4E-9724-9A0C00ECFD4E}" destId="{53A5562F-69E6-476D-8FCB-7468F6ED3035}" srcOrd="13" destOrd="0" presId="urn:microsoft.com/office/officeart/2005/8/layout/list1"/>
    <dgm:cxn modelId="{7D951186-6592-46D0-8972-C9B8F8F7240E}" type="presParOf" srcId="{D941C651-52D6-4A4E-9724-9A0C00ECFD4E}" destId="{0AD4B49D-F363-4E5F-8832-8106C7E24E55}"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DD4CC13-DEC9-4281-A928-82B4A4DA255F}"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E24C3A3D-9EB0-457A-9692-F97ABFDDDEA0}">
      <dgm:prSet phldrT="[Text]"/>
      <dgm:spPr/>
      <dgm:t>
        <a:bodyPr/>
        <a:lstStyle/>
        <a:p>
          <a:r>
            <a:rPr lang="en-US" dirty="0"/>
            <a:t>Design of Batch processing &amp; Interactive Queries</a:t>
          </a:r>
        </a:p>
      </dgm:t>
    </dgm:pt>
    <dgm:pt modelId="{E8212E5D-9DDB-4A41-8FF6-0875F1510FCB}" type="parTrans" cxnId="{05690577-FC64-4B28-B0EA-0F9C2E294838}">
      <dgm:prSet/>
      <dgm:spPr/>
      <dgm:t>
        <a:bodyPr/>
        <a:lstStyle/>
        <a:p>
          <a:endParaRPr lang="en-US"/>
        </a:p>
      </dgm:t>
    </dgm:pt>
    <dgm:pt modelId="{57D75005-68BF-48B7-AAC4-601DC4D6623C}" type="sibTrans" cxnId="{05690577-FC64-4B28-B0EA-0F9C2E294838}">
      <dgm:prSet/>
      <dgm:spPr/>
      <dgm:t>
        <a:bodyPr/>
        <a:lstStyle/>
        <a:p>
          <a:endParaRPr lang="en-US"/>
        </a:p>
      </dgm:t>
    </dgm:pt>
    <dgm:pt modelId="{985D639F-62E2-44AD-A033-95886179E23A}">
      <dgm:prSet phldrT="[Text]"/>
      <dgm:spPr/>
      <dgm:t>
        <a:bodyPr/>
        <a:lstStyle/>
        <a:p>
          <a:r>
            <a:rPr lang="en-US" dirty="0"/>
            <a:t>Design for Security</a:t>
          </a:r>
        </a:p>
      </dgm:t>
    </dgm:pt>
    <dgm:pt modelId="{54C9FF66-958D-4809-A050-EB4E5DB17B46}" type="parTrans" cxnId="{4A3653BC-5425-448A-AF80-3FE04CCB4624}">
      <dgm:prSet/>
      <dgm:spPr/>
      <dgm:t>
        <a:bodyPr/>
        <a:lstStyle/>
        <a:p>
          <a:endParaRPr lang="en-US"/>
        </a:p>
      </dgm:t>
    </dgm:pt>
    <dgm:pt modelId="{A3212B54-657F-4344-9B45-A2962B7771C5}" type="sibTrans" cxnId="{4A3653BC-5425-448A-AF80-3FE04CCB4624}">
      <dgm:prSet/>
      <dgm:spPr/>
      <dgm:t>
        <a:bodyPr/>
        <a:lstStyle/>
        <a:p>
          <a:endParaRPr lang="en-US"/>
        </a:p>
      </dgm:t>
    </dgm:pt>
    <dgm:pt modelId="{78CD5DFC-4B8C-4246-9E10-3BCC354E575E}">
      <dgm:prSet phldrT="[Text]"/>
      <dgm:spPr/>
      <dgm:t>
        <a:bodyPr/>
        <a:lstStyle/>
        <a:p>
          <a:r>
            <a:rPr lang="en-US" b="1" dirty="0">
              <a:solidFill>
                <a:srgbClr val="FFFF00"/>
              </a:solidFill>
            </a:rPr>
            <a:t>Design and Provision compute clusters</a:t>
          </a:r>
        </a:p>
      </dgm:t>
    </dgm:pt>
    <dgm:pt modelId="{6247BA0C-94F1-4648-9288-8EDB3E0455F4}" type="sibTrans" cxnId="{A6EACC32-8693-45F3-B2A1-1EEBA5F4DED8}">
      <dgm:prSet/>
      <dgm:spPr/>
      <dgm:t>
        <a:bodyPr/>
        <a:lstStyle/>
        <a:p>
          <a:endParaRPr lang="en-US"/>
        </a:p>
      </dgm:t>
    </dgm:pt>
    <dgm:pt modelId="{7DCE7124-ED11-4DB6-A29B-7F12E6A2EC61}" type="parTrans" cxnId="{A6EACC32-8693-45F3-B2A1-1EEBA5F4DED8}">
      <dgm:prSet/>
      <dgm:spPr/>
      <dgm:t>
        <a:bodyPr/>
        <a:lstStyle/>
        <a:p>
          <a:endParaRPr lang="en-US"/>
        </a:p>
      </dgm:t>
    </dgm:pt>
    <dgm:pt modelId="{849A1B87-900A-437F-A363-8FB8E3AC7552}">
      <dgm:prSet phldrT="[Text]"/>
      <dgm:spPr/>
      <dgm:t>
        <a:bodyPr/>
        <a:lstStyle/>
        <a:p>
          <a:r>
            <a:rPr lang="en-US" b="0" dirty="0"/>
            <a:t>Data Ingestion</a:t>
          </a:r>
        </a:p>
      </dgm:t>
    </dgm:pt>
    <dgm:pt modelId="{DEFE8854-317C-4D85-A34D-F1D9604AC91E}" type="parTrans" cxnId="{AC4CDBAA-9C8B-4D25-8B0B-5E30EA6D817C}">
      <dgm:prSet/>
      <dgm:spPr/>
      <dgm:t>
        <a:bodyPr/>
        <a:lstStyle/>
        <a:p>
          <a:endParaRPr lang="en-US"/>
        </a:p>
      </dgm:t>
    </dgm:pt>
    <dgm:pt modelId="{9C09C0DB-E39C-43A7-9208-C51F444C0ED6}" type="sibTrans" cxnId="{AC4CDBAA-9C8B-4D25-8B0B-5E30EA6D817C}">
      <dgm:prSet/>
      <dgm:spPr/>
      <dgm:t>
        <a:bodyPr/>
        <a:lstStyle/>
        <a:p>
          <a:endParaRPr lang="en-US"/>
        </a:p>
      </dgm:t>
    </dgm:pt>
    <dgm:pt modelId="{D941C651-52D6-4A4E-9724-9A0C00ECFD4E}" type="pres">
      <dgm:prSet presAssocID="{9DD4CC13-DEC9-4281-A928-82B4A4DA255F}" presName="linear" presStyleCnt="0">
        <dgm:presLayoutVars>
          <dgm:dir/>
          <dgm:animLvl val="lvl"/>
          <dgm:resizeHandles val="exact"/>
        </dgm:presLayoutVars>
      </dgm:prSet>
      <dgm:spPr/>
    </dgm:pt>
    <dgm:pt modelId="{14A5195B-1FBA-40B3-9408-A3D798071E0C}" type="pres">
      <dgm:prSet presAssocID="{849A1B87-900A-437F-A363-8FB8E3AC7552}" presName="parentLin" presStyleCnt="0"/>
      <dgm:spPr/>
    </dgm:pt>
    <dgm:pt modelId="{A57743FD-3FD1-42FE-91B3-B12BFA8A218D}" type="pres">
      <dgm:prSet presAssocID="{849A1B87-900A-437F-A363-8FB8E3AC7552}" presName="parentLeftMargin" presStyleLbl="node1" presStyleIdx="0" presStyleCnt="4"/>
      <dgm:spPr/>
    </dgm:pt>
    <dgm:pt modelId="{DA3F7DCA-4A1A-49A8-8B99-A30566ED4C4F}" type="pres">
      <dgm:prSet presAssocID="{849A1B87-900A-437F-A363-8FB8E3AC7552}" presName="parentText" presStyleLbl="node1" presStyleIdx="0" presStyleCnt="4">
        <dgm:presLayoutVars>
          <dgm:chMax val="0"/>
          <dgm:bulletEnabled val="1"/>
        </dgm:presLayoutVars>
      </dgm:prSet>
      <dgm:spPr/>
    </dgm:pt>
    <dgm:pt modelId="{E444AA1F-1814-4920-8942-51A2188ECD5E}" type="pres">
      <dgm:prSet presAssocID="{849A1B87-900A-437F-A363-8FB8E3AC7552}" presName="negativeSpace" presStyleCnt="0"/>
      <dgm:spPr/>
    </dgm:pt>
    <dgm:pt modelId="{9E2D0625-CBAE-4D9E-8C28-B06BC1EE0CE5}" type="pres">
      <dgm:prSet presAssocID="{849A1B87-900A-437F-A363-8FB8E3AC7552}" presName="childText" presStyleLbl="conFgAcc1" presStyleIdx="0" presStyleCnt="4">
        <dgm:presLayoutVars>
          <dgm:bulletEnabled val="1"/>
        </dgm:presLayoutVars>
      </dgm:prSet>
      <dgm:spPr/>
    </dgm:pt>
    <dgm:pt modelId="{2A76BB72-D3F0-4FAE-B74B-026875EE919B}" type="pres">
      <dgm:prSet presAssocID="{9C09C0DB-E39C-43A7-9208-C51F444C0ED6}" presName="spaceBetweenRectangles" presStyleCnt="0"/>
      <dgm:spPr/>
    </dgm:pt>
    <dgm:pt modelId="{E99406B9-BAE0-4E31-B3E6-853D50439E71}" type="pres">
      <dgm:prSet presAssocID="{78CD5DFC-4B8C-4246-9E10-3BCC354E575E}" presName="parentLin" presStyleCnt="0"/>
      <dgm:spPr/>
    </dgm:pt>
    <dgm:pt modelId="{5800143E-DAD7-49D6-8380-CFFD570C0BF9}" type="pres">
      <dgm:prSet presAssocID="{78CD5DFC-4B8C-4246-9E10-3BCC354E575E}" presName="parentLeftMargin" presStyleLbl="node1" presStyleIdx="0" presStyleCnt="4"/>
      <dgm:spPr/>
    </dgm:pt>
    <dgm:pt modelId="{48874FE4-00DA-453E-B084-78E5D0DE2D58}" type="pres">
      <dgm:prSet presAssocID="{78CD5DFC-4B8C-4246-9E10-3BCC354E575E}" presName="parentText" presStyleLbl="node1" presStyleIdx="1" presStyleCnt="4">
        <dgm:presLayoutVars>
          <dgm:chMax val="0"/>
          <dgm:bulletEnabled val="1"/>
        </dgm:presLayoutVars>
      </dgm:prSet>
      <dgm:spPr/>
    </dgm:pt>
    <dgm:pt modelId="{7008F254-D28E-44D9-A32C-A9EFB3D1C420}" type="pres">
      <dgm:prSet presAssocID="{78CD5DFC-4B8C-4246-9E10-3BCC354E575E}" presName="negativeSpace" presStyleCnt="0"/>
      <dgm:spPr/>
    </dgm:pt>
    <dgm:pt modelId="{A33DF34A-C981-4260-A6A0-96A2D1D07D28}" type="pres">
      <dgm:prSet presAssocID="{78CD5DFC-4B8C-4246-9E10-3BCC354E575E}" presName="childText" presStyleLbl="conFgAcc1" presStyleIdx="1" presStyleCnt="4">
        <dgm:presLayoutVars>
          <dgm:bulletEnabled val="1"/>
        </dgm:presLayoutVars>
      </dgm:prSet>
      <dgm:spPr/>
    </dgm:pt>
    <dgm:pt modelId="{DAF3E745-E10F-4303-9300-BFD2EBBBF382}" type="pres">
      <dgm:prSet presAssocID="{6247BA0C-94F1-4648-9288-8EDB3E0455F4}" presName="spaceBetweenRectangles" presStyleCnt="0"/>
      <dgm:spPr/>
    </dgm:pt>
    <dgm:pt modelId="{FBB3B595-9CCC-4CEB-B6A1-2B60FA54A69D}" type="pres">
      <dgm:prSet presAssocID="{E24C3A3D-9EB0-457A-9692-F97ABFDDDEA0}" presName="parentLin" presStyleCnt="0"/>
      <dgm:spPr/>
    </dgm:pt>
    <dgm:pt modelId="{AE4EA73C-3122-4A12-8BF3-633A775643E3}" type="pres">
      <dgm:prSet presAssocID="{E24C3A3D-9EB0-457A-9692-F97ABFDDDEA0}" presName="parentLeftMargin" presStyleLbl="node1" presStyleIdx="1" presStyleCnt="4"/>
      <dgm:spPr/>
    </dgm:pt>
    <dgm:pt modelId="{681D8277-F44E-4020-BA8F-B21DE9D22129}" type="pres">
      <dgm:prSet presAssocID="{E24C3A3D-9EB0-457A-9692-F97ABFDDDEA0}" presName="parentText" presStyleLbl="node1" presStyleIdx="2" presStyleCnt="4">
        <dgm:presLayoutVars>
          <dgm:chMax val="0"/>
          <dgm:bulletEnabled val="1"/>
        </dgm:presLayoutVars>
      </dgm:prSet>
      <dgm:spPr/>
    </dgm:pt>
    <dgm:pt modelId="{B0265A0C-0818-425F-B212-4419026CB951}" type="pres">
      <dgm:prSet presAssocID="{E24C3A3D-9EB0-457A-9692-F97ABFDDDEA0}" presName="negativeSpace" presStyleCnt="0"/>
      <dgm:spPr/>
    </dgm:pt>
    <dgm:pt modelId="{72D6B662-1932-47A5-9FA8-94AE9E841ECC}" type="pres">
      <dgm:prSet presAssocID="{E24C3A3D-9EB0-457A-9692-F97ABFDDDEA0}" presName="childText" presStyleLbl="conFgAcc1" presStyleIdx="2" presStyleCnt="4">
        <dgm:presLayoutVars>
          <dgm:bulletEnabled val="1"/>
        </dgm:presLayoutVars>
      </dgm:prSet>
      <dgm:spPr/>
    </dgm:pt>
    <dgm:pt modelId="{B6605D35-558F-4946-8A45-D15686C53852}" type="pres">
      <dgm:prSet presAssocID="{57D75005-68BF-48B7-AAC4-601DC4D6623C}" presName="spaceBetweenRectangles" presStyleCnt="0"/>
      <dgm:spPr/>
    </dgm:pt>
    <dgm:pt modelId="{8254D5EA-6827-4028-8A6E-EB9BAD579551}" type="pres">
      <dgm:prSet presAssocID="{985D639F-62E2-44AD-A033-95886179E23A}" presName="parentLin" presStyleCnt="0"/>
      <dgm:spPr/>
    </dgm:pt>
    <dgm:pt modelId="{7BD2CE33-F020-4C4A-8DCA-F2946BC1463E}" type="pres">
      <dgm:prSet presAssocID="{985D639F-62E2-44AD-A033-95886179E23A}" presName="parentLeftMargin" presStyleLbl="node1" presStyleIdx="2" presStyleCnt="4"/>
      <dgm:spPr/>
    </dgm:pt>
    <dgm:pt modelId="{36A3316B-E85E-4FA1-ABEF-A26090E5713B}" type="pres">
      <dgm:prSet presAssocID="{985D639F-62E2-44AD-A033-95886179E23A}" presName="parentText" presStyleLbl="node1" presStyleIdx="3" presStyleCnt="4">
        <dgm:presLayoutVars>
          <dgm:chMax val="0"/>
          <dgm:bulletEnabled val="1"/>
        </dgm:presLayoutVars>
      </dgm:prSet>
      <dgm:spPr/>
    </dgm:pt>
    <dgm:pt modelId="{53A5562F-69E6-476D-8FCB-7468F6ED3035}" type="pres">
      <dgm:prSet presAssocID="{985D639F-62E2-44AD-A033-95886179E23A}" presName="negativeSpace" presStyleCnt="0"/>
      <dgm:spPr/>
    </dgm:pt>
    <dgm:pt modelId="{0AD4B49D-F363-4E5F-8832-8106C7E24E55}" type="pres">
      <dgm:prSet presAssocID="{985D639F-62E2-44AD-A033-95886179E23A}" presName="childText" presStyleLbl="conFgAcc1" presStyleIdx="3" presStyleCnt="4">
        <dgm:presLayoutVars>
          <dgm:bulletEnabled val="1"/>
        </dgm:presLayoutVars>
      </dgm:prSet>
      <dgm:spPr/>
    </dgm:pt>
  </dgm:ptLst>
  <dgm:cxnLst>
    <dgm:cxn modelId="{A6EACC32-8693-45F3-B2A1-1EEBA5F4DED8}" srcId="{9DD4CC13-DEC9-4281-A928-82B4A4DA255F}" destId="{78CD5DFC-4B8C-4246-9E10-3BCC354E575E}" srcOrd="1" destOrd="0" parTransId="{7DCE7124-ED11-4DB6-A29B-7F12E6A2EC61}" sibTransId="{6247BA0C-94F1-4648-9288-8EDB3E0455F4}"/>
    <dgm:cxn modelId="{8574E342-9236-40CD-9992-49BC40E3046C}" type="presOf" srcId="{9DD4CC13-DEC9-4281-A928-82B4A4DA255F}" destId="{D941C651-52D6-4A4E-9724-9A0C00ECFD4E}" srcOrd="0" destOrd="0" presId="urn:microsoft.com/office/officeart/2005/8/layout/list1"/>
    <dgm:cxn modelId="{ABDC7E65-9E58-40E6-8C72-FDC18F7A5C6A}" type="presOf" srcId="{78CD5DFC-4B8C-4246-9E10-3BCC354E575E}" destId="{5800143E-DAD7-49D6-8380-CFFD570C0BF9}" srcOrd="0" destOrd="0" presId="urn:microsoft.com/office/officeart/2005/8/layout/list1"/>
    <dgm:cxn modelId="{94EAB074-87DF-4DD0-9C3A-2C857E8A9101}" type="presOf" srcId="{E24C3A3D-9EB0-457A-9692-F97ABFDDDEA0}" destId="{681D8277-F44E-4020-BA8F-B21DE9D22129}" srcOrd="1" destOrd="0" presId="urn:microsoft.com/office/officeart/2005/8/layout/list1"/>
    <dgm:cxn modelId="{05690577-FC64-4B28-B0EA-0F9C2E294838}" srcId="{9DD4CC13-DEC9-4281-A928-82B4A4DA255F}" destId="{E24C3A3D-9EB0-457A-9692-F97ABFDDDEA0}" srcOrd="2" destOrd="0" parTransId="{E8212E5D-9DDB-4A41-8FF6-0875F1510FCB}" sibTransId="{57D75005-68BF-48B7-AAC4-601DC4D6623C}"/>
    <dgm:cxn modelId="{A1752678-1811-4CC1-A1A6-3F33CD6DB2BE}" type="presOf" srcId="{849A1B87-900A-437F-A363-8FB8E3AC7552}" destId="{A57743FD-3FD1-42FE-91B3-B12BFA8A218D}" srcOrd="0" destOrd="0" presId="urn:microsoft.com/office/officeart/2005/8/layout/list1"/>
    <dgm:cxn modelId="{CE12128B-8183-4A77-B5D8-BA268B9B1BAE}" type="presOf" srcId="{78CD5DFC-4B8C-4246-9E10-3BCC354E575E}" destId="{48874FE4-00DA-453E-B084-78E5D0DE2D58}" srcOrd="1" destOrd="0" presId="urn:microsoft.com/office/officeart/2005/8/layout/list1"/>
    <dgm:cxn modelId="{E7BB7095-D71A-49E4-A0BF-AB4CCD1FC87A}" type="presOf" srcId="{985D639F-62E2-44AD-A033-95886179E23A}" destId="{7BD2CE33-F020-4C4A-8DCA-F2946BC1463E}" srcOrd="0" destOrd="0" presId="urn:microsoft.com/office/officeart/2005/8/layout/list1"/>
    <dgm:cxn modelId="{E8729B95-345E-4630-9F8A-E3CD3A2E3712}" type="presOf" srcId="{E24C3A3D-9EB0-457A-9692-F97ABFDDDEA0}" destId="{AE4EA73C-3122-4A12-8BF3-633A775643E3}" srcOrd="0" destOrd="0" presId="urn:microsoft.com/office/officeart/2005/8/layout/list1"/>
    <dgm:cxn modelId="{AC4CDBAA-9C8B-4D25-8B0B-5E30EA6D817C}" srcId="{9DD4CC13-DEC9-4281-A928-82B4A4DA255F}" destId="{849A1B87-900A-437F-A363-8FB8E3AC7552}" srcOrd="0" destOrd="0" parTransId="{DEFE8854-317C-4D85-A34D-F1D9604AC91E}" sibTransId="{9C09C0DB-E39C-43A7-9208-C51F444C0ED6}"/>
    <dgm:cxn modelId="{4A3653BC-5425-448A-AF80-3FE04CCB4624}" srcId="{9DD4CC13-DEC9-4281-A928-82B4A4DA255F}" destId="{985D639F-62E2-44AD-A033-95886179E23A}" srcOrd="3" destOrd="0" parTransId="{54C9FF66-958D-4809-A050-EB4E5DB17B46}" sibTransId="{A3212B54-657F-4344-9B45-A2962B7771C5}"/>
    <dgm:cxn modelId="{D15FCAE0-A3C2-42B9-A1EA-13C8F06632F7}" type="presOf" srcId="{849A1B87-900A-437F-A363-8FB8E3AC7552}" destId="{DA3F7DCA-4A1A-49A8-8B99-A30566ED4C4F}" srcOrd="1" destOrd="0" presId="urn:microsoft.com/office/officeart/2005/8/layout/list1"/>
    <dgm:cxn modelId="{9BBCEFF5-F54B-400D-8DFF-FBDF47CF6351}" type="presOf" srcId="{985D639F-62E2-44AD-A033-95886179E23A}" destId="{36A3316B-E85E-4FA1-ABEF-A26090E5713B}" srcOrd="1" destOrd="0" presId="urn:microsoft.com/office/officeart/2005/8/layout/list1"/>
    <dgm:cxn modelId="{DC58DF7E-1923-404C-B5C6-CAA245B555D1}" type="presParOf" srcId="{D941C651-52D6-4A4E-9724-9A0C00ECFD4E}" destId="{14A5195B-1FBA-40B3-9408-A3D798071E0C}" srcOrd="0" destOrd="0" presId="urn:microsoft.com/office/officeart/2005/8/layout/list1"/>
    <dgm:cxn modelId="{1EBCE0C9-AE39-479B-A0D9-DA69866BA055}" type="presParOf" srcId="{14A5195B-1FBA-40B3-9408-A3D798071E0C}" destId="{A57743FD-3FD1-42FE-91B3-B12BFA8A218D}" srcOrd="0" destOrd="0" presId="urn:microsoft.com/office/officeart/2005/8/layout/list1"/>
    <dgm:cxn modelId="{22D17B43-CBC5-4D89-959A-61BE815754D8}" type="presParOf" srcId="{14A5195B-1FBA-40B3-9408-A3D798071E0C}" destId="{DA3F7DCA-4A1A-49A8-8B99-A30566ED4C4F}" srcOrd="1" destOrd="0" presId="urn:microsoft.com/office/officeart/2005/8/layout/list1"/>
    <dgm:cxn modelId="{5B745E17-5AF6-4100-AC18-5AD41F916B98}" type="presParOf" srcId="{D941C651-52D6-4A4E-9724-9A0C00ECFD4E}" destId="{E444AA1F-1814-4920-8942-51A2188ECD5E}" srcOrd="1" destOrd="0" presId="urn:microsoft.com/office/officeart/2005/8/layout/list1"/>
    <dgm:cxn modelId="{953C44EA-C428-4C63-A13A-D7FC6C61D4A9}" type="presParOf" srcId="{D941C651-52D6-4A4E-9724-9A0C00ECFD4E}" destId="{9E2D0625-CBAE-4D9E-8C28-B06BC1EE0CE5}" srcOrd="2" destOrd="0" presId="urn:microsoft.com/office/officeart/2005/8/layout/list1"/>
    <dgm:cxn modelId="{F2D89510-ABBA-418F-8F6B-BE54727AEA13}" type="presParOf" srcId="{D941C651-52D6-4A4E-9724-9A0C00ECFD4E}" destId="{2A76BB72-D3F0-4FAE-B74B-026875EE919B}" srcOrd="3" destOrd="0" presId="urn:microsoft.com/office/officeart/2005/8/layout/list1"/>
    <dgm:cxn modelId="{FBAE2614-38AA-4865-879D-749BE9BFE87F}" type="presParOf" srcId="{D941C651-52D6-4A4E-9724-9A0C00ECFD4E}" destId="{E99406B9-BAE0-4E31-B3E6-853D50439E71}" srcOrd="4" destOrd="0" presId="urn:microsoft.com/office/officeart/2005/8/layout/list1"/>
    <dgm:cxn modelId="{A3EA3B83-2E59-4009-9FE8-5DFE11731E56}" type="presParOf" srcId="{E99406B9-BAE0-4E31-B3E6-853D50439E71}" destId="{5800143E-DAD7-49D6-8380-CFFD570C0BF9}" srcOrd="0" destOrd="0" presId="urn:microsoft.com/office/officeart/2005/8/layout/list1"/>
    <dgm:cxn modelId="{B431692F-D377-4B8D-884E-134F2F77AD86}" type="presParOf" srcId="{E99406B9-BAE0-4E31-B3E6-853D50439E71}" destId="{48874FE4-00DA-453E-B084-78E5D0DE2D58}" srcOrd="1" destOrd="0" presId="urn:microsoft.com/office/officeart/2005/8/layout/list1"/>
    <dgm:cxn modelId="{47F8C0B5-A508-4B6B-A529-F2CCF9E501E0}" type="presParOf" srcId="{D941C651-52D6-4A4E-9724-9A0C00ECFD4E}" destId="{7008F254-D28E-44D9-A32C-A9EFB3D1C420}" srcOrd="5" destOrd="0" presId="urn:microsoft.com/office/officeart/2005/8/layout/list1"/>
    <dgm:cxn modelId="{639BDA11-EDE7-4D0D-BDA9-86ADD4CC6CAC}" type="presParOf" srcId="{D941C651-52D6-4A4E-9724-9A0C00ECFD4E}" destId="{A33DF34A-C981-4260-A6A0-96A2D1D07D28}" srcOrd="6" destOrd="0" presId="urn:microsoft.com/office/officeart/2005/8/layout/list1"/>
    <dgm:cxn modelId="{22F24867-057B-4094-B850-5F4D70B30BEA}" type="presParOf" srcId="{D941C651-52D6-4A4E-9724-9A0C00ECFD4E}" destId="{DAF3E745-E10F-4303-9300-BFD2EBBBF382}" srcOrd="7" destOrd="0" presId="urn:microsoft.com/office/officeart/2005/8/layout/list1"/>
    <dgm:cxn modelId="{88E5C66C-3508-4DEF-96EE-C986D24D90D2}" type="presParOf" srcId="{D941C651-52D6-4A4E-9724-9A0C00ECFD4E}" destId="{FBB3B595-9CCC-4CEB-B6A1-2B60FA54A69D}" srcOrd="8" destOrd="0" presId="urn:microsoft.com/office/officeart/2005/8/layout/list1"/>
    <dgm:cxn modelId="{E6064352-919E-4419-BBF7-F63EA3291301}" type="presParOf" srcId="{FBB3B595-9CCC-4CEB-B6A1-2B60FA54A69D}" destId="{AE4EA73C-3122-4A12-8BF3-633A775643E3}" srcOrd="0" destOrd="0" presId="urn:microsoft.com/office/officeart/2005/8/layout/list1"/>
    <dgm:cxn modelId="{268FEDFE-AF3A-4C72-B39A-8482590B4391}" type="presParOf" srcId="{FBB3B595-9CCC-4CEB-B6A1-2B60FA54A69D}" destId="{681D8277-F44E-4020-BA8F-B21DE9D22129}" srcOrd="1" destOrd="0" presId="urn:microsoft.com/office/officeart/2005/8/layout/list1"/>
    <dgm:cxn modelId="{D45C3445-C854-46D4-98E6-770425C0F970}" type="presParOf" srcId="{D941C651-52D6-4A4E-9724-9A0C00ECFD4E}" destId="{B0265A0C-0818-425F-B212-4419026CB951}" srcOrd="9" destOrd="0" presId="urn:microsoft.com/office/officeart/2005/8/layout/list1"/>
    <dgm:cxn modelId="{67F947BD-A97F-4351-A3A3-308F93C16A25}" type="presParOf" srcId="{D941C651-52D6-4A4E-9724-9A0C00ECFD4E}" destId="{72D6B662-1932-47A5-9FA8-94AE9E841ECC}" srcOrd="10" destOrd="0" presId="urn:microsoft.com/office/officeart/2005/8/layout/list1"/>
    <dgm:cxn modelId="{100F0EF3-CA9B-46CA-B053-63D6D8F01202}" type="presParOf" srcId="{D941C651-52D6-4A4E-9724-9A0C00ECFD4E}" destId="{B6605D35-558F-4946-8A45-D15686C53852}" srcOrd="11" destOrd="0" presId="urn:microsoft.com/office/officeart/2005/8/layout/list1"/>
    <dgm:cxn modelId="{B16E154A-CBDC-428F-B482-9AAE98B35DDC}" type="presParOf" srcId="{D941C651-52D6-4A4E-9724-9A0C00ECFD4E}" destId="{8254D5EA-6827-4028-8A6E-EB9BAD579551}" srcOrd="12" destOrd="0" presId="urn:microsoft.com/office/officeart/2005/8/layout/list1"/>
    <dgm:cxn modelId="{8E5077E0-C1B9-4BA3-B2F0-4DF43ECECD0D}" type="presParOf" srcId="{8254D5EA-6827-4028-8A6E-EB9BAD579551}" destId="{7BD2CE33-F020-4C4A-8DCA-F2946BC1463E}" srcOrd="0" destOrd="0" presId="urn:microsoft.com/office/officeart/2005/8/layout/list1"/>
    <dgm:cxn modelId="{95E4BED3-3E87-4E2C-B983-F80B7756A63C}" type="presParOf" srcId="{8254D5EA-6827-4028-8A6E-EB9BAD579551}" destId="{36A3316B-E85E-4FA1-ABEF-A26090E5713B}" srcOrd="1" destOrd="0" presId="urn:microsoft.com/office/officeart/2005/8/layout/list1"/>
    <dgm:cxn modelId="{760488A0-E57D-44B6-AF52-A3D7C4B49E55}" type="presParOf" srcId="{D941C651-52D6-4A4E-9724-9A0C00ECFD4E}" destId="{53A5562F-69E6-476D-8FCB-7468F6ED3035}" srcOrd="13" destOrd="0" presId="urn:microsoft.com/office/officeart/2005/8/layout/list1"/>
    <dgm:cxn modelId="{7D951186-6592-46D0-8972-C9B8F8F7240E}" type="presParOf" srcId="{D941C651-52D6-4A4E-9724-9A0C00ECFD4E}" destId="{0AD4B49D-F363-4E5F-8832-8106C7E24E55}"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DD4CC13-DEC9-4281-A928-82B4A4DA255F}"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E24C3A3D-9EB0-457A-9692-F97ABFDDDEA0}">
      <dgm:prSet phldrT="[Text]"/>
      <dgm:spPr/>
      <dgm:t>
        <a:bodyPr/>
        <a:lstStyle/>
        <a:p>
          <a:r>
            <a:rPr lang="en-US" b="1" dirty="0">
              <a:solidFill>
                <a:srgbClr val="FFFF00"/>
              </a:solidFill>
            </a:rPr>
            <a:t>Design of Batch processing &amp; Interactive Queries</a:t>
          </a:r>
        </a:p>
      </dgm:t>
    </dgm:pt>
    <dgm:pt modelId="{E8212E5D-9DDB-4A41-8FF6-0875F1510FCB}" type="parTrans" cxnId="{05690577-FC64-4B28-B0EA-0F9C2E294838}">
      <dgm:prSet/>
      <dgm:spPr/>
      <dgm:t>
        <a:bodyPr/>
        <a:lstStyle/>
        <a:p>
          <a:endParaRPr lang="en-US"/>
        </a:p>
      </dgm:t>
    </dgm:pt>
    <dgm:pt modelId="{57D75005-68BF-48B7-AAC4-601DC4D6623C}" type="sibTrans" cxnId="{05690577-FC64-4B28-B0EA-0F9C2E294838}">
      <dgm:prSet/>
      <dgm:spPr/>
      <dgm:t>
        <a:bodyPr/>
        <a:lstStyle/>
        <a:p>
          <a:endParaRPr lang="en-US"/>
        </a:p>
      </dgm:t>
    </dgm:pt>
    <dgm:pt modelId="{985D639F-62E2-44AD-A033-95886179E23A}">
      <dgm:prSet phldrT="[Text]"/>
      <dgm:spPr/>
      <dgm:t>
        <a:bodyPr/>
        <a:lstStyle/>
        <a:p>
          <a:r>
            <a:rPr lang="en-US" dirty="0"/>
            <a:t>Design for Security</a:t>
          </a:r>
        </a:p>
      </dgm:t>
    </dgm:pt>
    <dgm:pt modelId="{54C9FF66-958D-4809-A050-EB4E5DB17B46}" type="parTrans" cxnId="{4A3653BC-5425-448A-AF80-3FE04CCB4624}">
      <dgm:prSet/>
      <dgm:spPr/>
      <dgm:t>
        <a:bodyPr/>
        <a:lstStyle/>
        <a:p>
          <a:endParaRPr lang="en-US"/>
        </a:p>
      </dgm:t>
    </dgm:pt>
    <dgm:pt modelId="{A3212B54-657F-4344-9B45-A2962B7771C5}" type="sibTrans" cxnId="{4A3653BC-5425-448A-AF80-3FE04CCB4624}">
      <dgm:prSet/>
      <dgm:spPr/>
      <dgm:t>
        <a:bodyPr/>
        <a:lstStyle/>
        <a:p>
          <a:endParaRPr lang="en-US"/>
        </a:p>
      </dgm:t>
    </dgm:pt>
    <dgm:pt modelId="{78CD5DFC-4B8C-4246-9E10-3BCC354E575E}">
      <dgm:prSet phldrT="[Text]"/>
      <dgm:spPr/>
      <dgm:t>
        <a:bodyPr/>
        <a:lstStyle/>
        <a:p>
          <a:r>
            <a:rPr lang="en-US" b="0" dirty="0"/>
            <a:t>Design and Provision compute clusters</a:t>
          </a:r>
        </a:p>
      </dgm:t>
    </dgm:pt>
    <dgm:pt modelId="{6247BA0C-94F1-4648-9288-8EDB3E0455F4}" type="sibTrans" cxnId="{A6EACC32-8693-45F3-B2A1-1EEBA5F4DED8}">
      <dgm:prSet/>
      <dgm:spPr/>
      <dgm:t>
        <a:bodyPr/>
        <a:lstStyle/>
        <a:p>
          <a:endParaRPr lang="en-US"/>
        </a:p>
      </dgm:t>
    </dgm:pt>
    <dgm:pt modelId="{7DCE7124-ED11-4DB6-A29B-7F12E6A2EC61}" type="parTrans" cxnId="{A6EACC32-8693-45F3-B2A1-1EEBA5F4DED8}">
      <dgm:prSet/>
      <dgm:spPr/>
      <dgm:t>
        <a:bodyPr/>
        <a:lstStyle/>
        <a:p>
          <a:endParaRPr lang="en-US"/>
        </a:p>
      </dgm:t>
    </dgm:pt>
    <dgm:pt modelId="{849A1B87-900A-437F-A363-8FB8E3AC7552}">
      <dgm:prSet phldrT="[Text]"/>
      <dgm:spPr/>
      <dgm:t>
        <a:bodyPr/>
        <a:lstStyle/>
        <a:p>
          <a:r>
            <a:rPr lang="en-US" b="0" dirty="0"/>
            <a:t>Data Ingestion</a:t>
          </a:r>
        </a:p>
      </dgm:t>
    </dgm:pt>
    <dgm:pt modelId="{DEFE8854-317C-4D85-A34D-F1D9604AC91E}" type="parTrans" cxnId="{AC4CDBAA-9C8B-4D25-8B0B-5E30EA6D817C}">
      <dgm:prSet/>
      <dgm:spPr/>
      <dgm:t>
        <a:bodyPr/>
        <a:lstStyle/>
        <a:p>
          <a:endParaRPr lang="en-US"/>
        </a:p>
      </dgm:t>
    </dgm:pt>
    <dgm:pt modelId="{9C09C0DB-E39C-43A7-9208-C51F444C0ED6}" type="sibTrans" cxnId="{AC4CDBAA-9C8B-4D25-8B0B-5E30EA6D817C}">
      <dgm:prSet/>
      <dgm:spPr/>
      <dgm:t>
        <a:bodyPr/>
        <a:lstStyle/>
        <a:p>
          <a:endParaRPr lang="en-US"/>
        </a:p>
      </dgm:t>
    </dgm:pt>
    <dgm:pt modelId="{D941C651-52D6-4A4E-9724-9A0C00ECFD4E}" type="pres">
      <dgm:prSet presAssocID="{9DD4CC13-DEC9-4281-A928-82B4A4DA255F}" presName="linear" presStyleCnt="0">
        <dgm:presLayoutVars>
          <dgm:dir/>
          <dgm:animLvl val="lvl"/>
          <dgm:resizeHandles val="exact"/>
        </dgm:presLayoutVars>
      </dgm:prSet>
      <dgm:spPr/>
    </dgm:pt>
    <dgm:pt modelId="{14A5195B-1FBA-40B3-9408-A3D798071E0C}" type="pres">
      <dgm:prSet presAssocID="{849A1B87-900A-437F-A363-8FB8E3AC7552}" presName="parentLin" presStyleCnt="0"/>
      <dgm:spPr/>
    </dgm:pt>
    <dgm:pt modelId="{A57743FD-3FD1-42FE-91B3-B12BFA8A218D}" type="pres">
      <dgm:prSet presAssocID="{849A1B87-900A-437F-A363-8FB8E3AC7552}" presName="parentLeftMargin" presStyleLbl="node1" presStyleIdx="0" presStyleCnt="4"/>
      <dgm:spPr/>
    </dgm:pt>
    <dgm:pt modelId="{DA3F7DCA-4A1A-49A8-8B99-A30566ED4C4F}" type="pres">
      <dgm:prSet presAssocID="{849A1B87-900A-437F-A363-8FB8E3AC7552}" presName="parentText" presStyleLbl="node1" presStyleIdx="0" presStyleCnt="4">
        <dgm:presLayoutVars>
          <dgm:chMax val="0"/>
          <dgm:bulletEnabled val="1"/>
        </dgm:presLayoutVars>
      </dgm:prSet>
      <dgm:spPr/>
    </dgm:pt>
    <dgm:pt modelId="{E444AA1F-1814-4920-8942-51A2188ECD5E}" type="pres">
      <dgm:prSet presAssocID="{849A1B87-900A-437F-A363-8FB8E3AC7552}" presName="negativeSpace" presStyleCnt="0"/>
      <dgm:spPr/>
    </dgm:pt>
    <dgm:pt modelId="{9E2D0625-CBAE-4D9E-8C28-B06BC1EE0CE5}" type="pres">
      <dgm:prSet presAssocID="{849A1B87-900A-437F-A363-8FB8E3AC7552}" presName="childText" presStyleLbl="conFgAcc1" presStyleIdx="0" presStyleCnt="4">
        <dgm:presLayoutVars>
          <dgm:bulletEnabled val="1"/>
        </dgm:presLayoutVars>
      </dgm:prSet>
      <dgm:spPr/>
    </dgm:pt>
    <dgm:pt modelId="{2A76BB72-D3F0-4FAE-B74B-026875EE919B}" type="pres">
      <dgm:prSet presAssocID="{9C09C0DB-E39C-43A7-9208-C51F444C0ED6}" presName="spaceBetweenRectangles" presStyleCnt="0"/>
      <dgm:spPr/>
    </dgm:pt>
    <dgm:pt modelId="{E99406B9-BAE0-4E31-B3E6-853D50439E71}" type="pres">
      <dgm:prSet presAssocID="{78CD5DFC-4B8C-4246-9E10-3BCC354E575E}" presName="parentLin" presStyleCnt="0"/>
      <dgm:spPr/>
    </dgm:pt>
    <dgm:pt modelId="{5800143E-DAD7-49D6-8380-CFFD570C0BF9}" type="pres">
      <dgm:prSet presAssocID="{78CD5DFC-4B8C-4246-9E10-3BCC354E575E}" presName="parentLeftMargin" presStyleLbl="node1" presStyleIdx="0" presStyleCnt="4"/>
      <dgm:spPr/>
    </dgm:pt>
    <dgm:pt modelId="{48874FE4-00DA-453E-B084-78E5D0DE2D58}" type="pres">
      <dgm:prSet presAssocID="{78CD5DFC-4B8C-4246-9E10-3BCC354E575E}" presName="parentText" presStyleLbl="node1" presStyleIdx="1" presStyleCnt="4">
        <dgm:presLayoutVars>
          <dgm:chMax val="0"/>
          <dgm:bulletEnabled val="1"/>
        </dgm:presLayoutVars>
      </dgm:prSet>
      <dgm:spPr/>
    </dgm:pt>
    <dgm:pt modelId="{7008F254-D28E-44D9-A32C-A9EFB3D1C420}" type="pres">
      <dgm:prSet presAssocID="{78CD5DFC-4B8C-4246-9E10-3BCC354E575E}" presName="negativeSpace" presStyleCnt="0"/>
      <dgm:spPr/>
    </dgm:pt>
    <dgm:pt modelId="{A33DF34A-C981-4260-A6A0-96A2D1D07D28}" type="pres">
      <dgm:prSet presAssocID="{78CD5DFC-4B8C-4246-9E10-3BCC354E575E}" presName="childText" presStyleLbl="conFgAcc1" presStyleIdx="1" presStyleCnt="4">
        <dgm:presLayoutVars>
          <dgm:bulletEnabled val="1"/>
        </dgm:presLayoutVars>
      </dgm:prSet>
      <dgm:spPr/>
    </dgm:pt>
    <dgm:pt modelId="{DAF3E745-E10F-4303-9300-BFD2EBBBF382}" type="pres">
      <dgm:prSet presAssocID="{6247BA0C-94F1-4648-9288-8EDB3E0455F4}" presName="spaceBetweenRectangles" presStyleCnt="0"/>
      <dgm:spPr/>
    </dgm:pt>
    <dgm:pt modelId="{FBB3B595-9CCC-4CEB-B6A1-2B60FA54A69D}" type="pres">
      <dgm:prSet presAssocID="{E24C3A3D-9EB0-457A-9692-F97ABFDDDEA0}" presName="parentLin" presStyleCnt="0"/>
      <dgm:spPr/>
    </dgm:pt>
    <dgm:pt modelId="{AE4EA73C-3122-4A12-8BF3-633A775643E3}" type="pres">
      <dgm:prSet presAssocID="{E24C3A3D-9EB0-457A-9692-F97ABFDDDEA0}" presName="parentLeftMargin" presStyleLbl="node1" presStyleIdx="1" presStyleCnt="4"/>
      <dgm:spPr/>
    </dgm:pt>
    <dgm:pt modelId="{681D8277-F44E-4020-BA8F-B21DE9D22129}" type="pres">
      <dgm:prSet presAssocID="{E24C3A3D-9EB0-457A-9692-F97ABFDDDEA0}" presName="parentText" presStyleLbl="node1" presStyleIdx="2" presStyleCnt="4">
        <dgm:presLayoutVars>
          <dgm:chMax val="0"/>
          <dgm:bulletEnabled val="1"/>
        </dgm:presLayoutVars>
      </dgm:prSet>
      <dgm:spPr/>
    </dgm:pt>
    <dgm:pt modelId="{B0265A0C-0818-425F-B212-4419026CB951}" type="pres">
      <dgm:prSet presAssocID="{E24C3A3D-9EB0-457A-9692-F97ABFDDDEA0}" presName="negativeSpace" presStyleCnt="0"/>
      <dgm:spPr/>
    </dgm:pt>
    <dgm:pt modelId="{72D6B662-1932-47A5-9FA8-94AE9E841ECC}" type="pres">
      <dgm:prSet presAssocID="{E24C3A3D-9EB0-457A-9692-F97ABFDDDEA0}" presName="childText" presStyleLbl="conFgAcc1" presStyleIdx="2" presStyleCnt="4">
        <dgm:presLayoutVars>
          <dgm:bulletEnabled val="1"/>
        </dgm:presLayoutVars>
      </dgm:prSet>
      <dgm:spPr/>
    </dgm:pt>
    <dgm:pt modelId="{B6605D35-558F-4946-8A45-D15686C53852}" type="pres">
      <dgm:prSet presAssocID="{57D75005-68BF-48B7-AAC4-601DC4D6623C}" presName="spaceBetweenRectangles" presStyleCnt="0"/>
      <dgm:spPr/>
    </dgm:pt>
    <dgm:pt modelId="{8254D5EA-6827-4028-8A6E-EB9BAD579551}" type="pres">
      <dgm:prSet presAssocID="{985D639F-62E2-44AD-A033-95886179E23A}" presName="parentLin" presStyleCnt="0"/>
      <dgm:spPr/>
    </dgm:pt>
    <dgm:pt modelId="{7BD2CE33-F020-4C4A-8DCA-F2946BC1463E}" type="pres">
      <dgm:prSet presAssocID="{985D639F-62E2-44AD-A033-95886179E23A}" presName="parentLeftMargin" presStyleLbl="node1" presStyleIdx="2" presStyleCnt="4"/>
      <dgm:spPr/>
    </dgm:pt>
    <dgm:pt modelId="{36A3316B-E85E-4FA1-ABEF-A26090E5713B}" type="pres">
      <dgm:prSet presAssocID="{985D639F-62E2-44AD-A033-95886179E23A}" presName="parentText" presStyleLbl="node1" presStyleIdx="3" presStyleCnt="4">
        <dgm:presLayoutVars>
          <dgm:chMax val="0"/>
          <dgm:bulletEnabled val="1"/>
        </dgm:presLayoutVars>
      </dgm:prSet>
      <dgm:spPr/>
    </dgm:pt>
    <dgm:pt modelId="{53A5562F-69E6-476D-8FCB-7468F6ED3035}" type="pres">
      <dgm:prSet presAssocID="{985D639F-62E2-44AD-A033-95886179E23A}" presName="negativeSpace" presStyleCnt="0"/>
      <dgm:spPr/>
    </dgm:pt>
    <dgm:pt modelId="{0AD4B49D-F363-4E5F-8832-8106C7E24E55}" type="pres">
      <dgm:prSet presAssocID="{985D639F-62E2-44AD-A033-95886179E23A}" presName="childText" presStyleLbl="conFgAcc1" presStyleIdx="3" presStyleCnt="4">
        <dgm:presLayoutVars>
          <dgm:bulletEnabled val="1"/>
        </dgm:presLayoutVars>
      </dgm:prSet>
      <dgm:spPr/>
    </dgm:pt>
  </dgm:ptLst>
  <dgm:cxnLst>
    <dgm:cxn modelId="{A6EACC32-8693-45F3-B2A1-1EEBA5F4DED8}" srcId="{9DD4CC13-DEC9-4281-A928-82B4A4DA255F}" destId="{78CD5DFC-4B8C-4246-9E10-3BCC354E575E}" srcOrd="1" destOrd="0" parTransId="{7DCE7124-ED11-4DB6-A29B-7F12E6A2EC61}" sibTransId="{6247BA0C-94F1-4648-9288-8EDB3E0455F4}"/>
    <dgm:cxn modelId="{8574E342-9236-40CD-9992-49BC40E3046C}" type="presOf" srcId="{9DD4CC13-DEC9-4281-A928-82B4A4DA255F}" destId="{D941C651-52D6-4A4E-9724-9A0C00ECFD4E}" srcOrd="0" destOrd="0" presId="urn:microsoft.com/office/officeart/2005/8/layout/list1"/>
    <dgm:cxn modelId="{ABDC7E65-9E58-40E6-8C72-FDC18F7A5C6A}" type="presOf" srcId="{78CD5DFC-4B8C-4246-9E10-3BCC354E575E}" destId="{5800143E-DAD7-49D6-8380-CFFD570C0BF9}" srcOrd="0" destOrd="0" presId="urn:microsoft.com/office/officeart/2005/8/layout/list1"/>
    <dgm:cxn modelId="{94EAB074-87DF-4DD0-9C3A-2C857E8A9101}" type="presOf" srcId="{E24C3A3D-9EB0-457A-9692-F97ABFDDDEA0}" destId="{681D8277-F44E-4020-BA8F-B21DE9D22129}" srcOrd="1" destOrd="0" presId="urn:microsoft.com/office/officeart/2005/8/layout/list1"/>
    <dgm:cxn modelId="{05690577-FC64-4B28-B0EA-0F9C2E294838}" srcId="{9DD4CC13-DEC9-4281-A928-82B4A4DA255F}" destId="{E24C3A3D-9EB0-457A-9692-F97ABFDDDEA0}" srcOrd="2" destOrd="0" parTransId="{E8212E5D-9DDB-4A41-8FF6-0875F1510FCB}" sibTransId="{57D75005-68BF-48B7-AAC4-601DC4D6623C}"/>
    <dgm:cxn modelId="{A1752678-1811-4CC1-A1A6-3F33CD6DB2BE}" type="presOf" srcId="{849A1B87-900A-437F-A363-8FB8E3AC7552}" destId="{A57743FD-3FD1-42FE-91B3-B12BFA8A218D}" srcOrd="0" destOrd="0" presId="urn:microsoft.com/office/officeart/2005/8/layout/list1"/>
    <dgm:cxn modelId="{CE12128B-8183-4A77-B5D8-BA268B9B1BAE}" type="presOf" srcId="{78CD5DFC-4B8C-4246-9E10-3BCC354E575E}" destId="{48874FE4-00DA-453E-B084-78E5D0DE2D58}" srcOrd="1" destOrd="0" presId="urn:microsoft.com/office/officeart/2005/8/layout/list1"/>
    <dgm:cxn modelId="{E7BB7095-D71A-49E4-A0BF-AB4CCD1FC87A}" type="presOf" srcId="{985D639F-62E2-44AD-A033-95886179E23A}" destId="{7BD2CE33-F020-4C4A-8DCA-F2946BC1463E}" srcOrd="0" destOrd="0" presId="urn:microsoft.com/office/officeart/2005/8/layout/list1"/>
    <dgm:cxn modelId="{E8729B95-345E-4630-9F8A-E3CD3A2E3712}" type="presOf" srcId="{E24C3A3D-9EB0-457A-9692-F97ABFDDDEA0}" destId="{AE4EA73C-3122-4A12-8BF3-633A775643E3}" srcOrd="0" destOrd="0" presId="urn:microsoft.com/office/officeart/2005/8/layout/list1"/>
    <dgm:cxn modelId="{AC4CDBAA-9C8B-4D25-8B0B-5E30EA6D817C}" srcId="{9DD4CC13-DEC9-4281-A928-82B4A4DA255F}" destId="{849A1B87-900A-437F-A363-8FB8E3AC7552}" srcOrd="0" destOrd="0" parTransId="{DEFE8854-317C-4D85-A34D-F1D9604AC91E}" sibTransId="{9C09C0DB-E39C-43A7-9208-C51F444C0ED6}"/>
    <dgm:cxn modelId="{4A3653BC-5425-448A-AF80-3FE04CCB4624}" srcId="{9DD4CC13-DEC9-4281-A928-82B4A4DA255F}" destId="{985D639F-62E2-44AD-A033-95886179E23A}" srcOrd="3" destOrd="0" parTransId="{54C9FF66-958D-4809-A050-EB4E5DB17B46}" sibTransId="{A3212B54-657F-4344-9B45-A2962B7771C5}"/>
    <dgm:cxn modelId="{D15FCAE0-A3C2-42B9-A1EA-13C8F06632F7}" type="presOf" srcId="{849A1B87-900A-437F-A363-8FB8E3AC7552}" destId="{DA3F7DCA-4A1A-49A8-8B99-A30566ED4C4F}" srcOrd="1" destOrd="0" presId="urn:microsoft.com/office/officeart/2005/8/layout/list1"/>
    <dgm:cxn modelId="{9BBCEFF5-F54B-400D-8DFF-FBDF47CF6351}" type="presOf" srcId="{985D639F-62E2-44AD-A033-95886179E23A}" destId="{36A3316B-E85E-4FA1-ABEF-A26090E5713B}" srcOrd="1" destOrd="0" presId="urn:microsoft.com/office/officeart/2005/8/layout/list1"/>
    <dgm:cxn modelId="{DC58DF7E-1923-404C-B5C6-CAA245B555D1}" type="presParOf" srcId="{D941C651-52D6-4A4E-9724-9A0C00ECFD4E}" destId="{14A5195B-1FBA-40B3-9408-A3D798071E0C}" srcOrd="0" destOrd="0" presId="urn:microsoft.com/office/officeart/2005/8/layout/list1"/>
    <dgm:cxn modelId="{1EBCE0C9-AE39-479B-A0D9-DA69866BA055}" type="presParOf" srcId="{14A5195B-1FBA-40B3-9408-A3D798071E0C}" destId="{A57743FD-3FD1-42FE-91B3-B12BFA8A218D}" srcOrd="0" destOrd="0" presId="urn:microsoft.com/office/officeart/2005/8/layout/list1"/>
    <dgm:cxn modelId="{22D17B43-CBC5-4D89-959A-61BE815754D8}" type="presParOf" srcId="{14A5195B-1FBA-40B3-9408-A3D798071E0C}" destId="{DA3F7DCA-4A1A-49A8-8B99-A30566ED4C4F}" srcOrd="1" destOrd="0" presId="urn:microsoft.com/office/officeart/2005/8/layout/list1"/>
    <dgm:cxn modelId="{5B745E17-5AF6-4100-AC18-5AD41F916B98}" type="presParOf" srcId="{D941C651-52D6-4A4E-9724-9A0C00ECFD4E}" destId="{E444AA1F-1814-4920-8942-51A2188ECD5E}" srcOrd="1" destOrd="0" presId="urn:microsoft.com/office/officeart/2005/8/layout/list1"/>
    <dgm:cxn modelId="{953C44EA-C428-4C63-A13A-D7FC6C61D4A9}" type="presParOf" srcId="{D941C651-52D6-4A4E-9724-9A0C00ECFD4E}" destId="{9E2D0625-CBAE-4D9E-8C28-B06BC1EE0CE5}" srcOrd="2" destOrd="0" presId="urn:microsoft.com/office/officeart/2005/8/layout/list1"/>
    <dgm:cxn modelId="{F2D89510-ABBA-418F-8F6B-BE54727AEA13}" type="presParOf" srcId="{D941C651-52D6-4A4E-9724-9A0C00ECFD4E}" destId="{2A76BB72-D3F0-4FAE-B74B-026875EE919B}" srcOrd="3" destOrd="0" presId="urn:microsoft.com/office/officeart/2005/8/layout/list1"/>
    <dgm:cxn modelId="{FBAE2614-38AA-4865-879D-749BE9BFE87F}" type="presParOf" srcId="{D941C651-52D6-4A4E-9724-9A0C00ECFD4E}" destId="{E99406B9-BAE0-4E31-B3E6-853D50439E71}" srcOrd="4" destOrd="0" presId="urn:microsoft.com/office/officeart/2005/8/layout/list1"/>
    <dgm:cxn modelId="{A3EA3B83-2E59-4009-9FE8-5DFE11731E56}" type="presParOf" srcId="{E99406B9-BAE0-4E31-B3E6-853D50439E71}" destId="{5800143E-DAD7-49D6-8380-CFFD570C0BF9}" srcOrd="0" destOrd="0" presId="urn:microsoft.com/office/officeart/2005/8/layout/list1"/>
    <dgm:cxn modelId="{B431692F-D377-4B8D-884E-134F2F77AD86}" type="presParOf" srcId="{E99406B9-BAE0-4E31-B3E6-853D50439E71}" destId="{48874FE4-00DA-453E-B084-78E5D0DE2D58}" srcOrd="1" destOrd="0" presId="urn:microsoft.com/office/officeart/2005/8/layout/list1"/>
    <dgm:cxn modelId="{47F8C0B5-A508-4B6B-A529-F2CCF9E501E0}" type="presParOf" srcId="{D941C651-52D6-4A4E-9724-9A0C00ECFD4E}" destId="{7008F254-D28E-44D9-A32C-A9EFB3D1C420}" srcOrd="5" destOrd="0" presId="urn:microsoft.com/office/officeart/2005/8/layout/list1"/>
    <dgm:cxn modelId="{639BDA11-EDE7-4D0D-BDA9-86ADD4CC6CAC}" type="presParOf" srcId="{D941C651-52D6-4A4E-9724-9A0C00ECFD4E}" destId="{A33DF34A-C981-4260-A6A0-96A2D1D07D28}" srcOrd="6" destOrd="0" presId="urn:microsoft.com/office/officeart/2005/8/layout/list1"/>
    <dgm:cxn modelId="{22F24867-057B-4094-B850-5F4D70B30BEA}" type="presParOf" srcId="{D941C651-52D6-4A4E-9724-9A0C00ECFD4E}" destId="{DAF3E745-E10F-4303-9300-BFD2EBBBF382}" srcOrd="7" destOrd="0" presId="urn:microsoft.com/office/officeart/2005/8/layout/list1"/>
    <dgm:cxn modelId="{88E5C66C-3508-4DEF-96EE-C986D24D90D2}" type="presParOf" srcId="{D941C651-52D6-4A4E-9724-9A0C00ECFD4E}" destId="{FBB3B595-9CCC-4CEB-B6A1-2B60FA54A69D}" srcOrd="8" destOrd="0" presId="urn:microsoft.com/office/officeart/2005/8/layout/list1"/>
    <dgm:cxn modelId="{E6064352-919E-4419-BBF7-F63EA3291301}" type="presParOf" srcId="{FBB3B595-9CCC-4CEB-B6A1-2B60FA54A69D}" destId="{AE4EA73C-3122-4A12-8BF3-633A775643E3}" srcOrd="0" destOrd="0" presId="urn:microsoft.com/office/officeart/2005/8/layout/list1"/>
    <dgm:cxn modelId="{268FEDFE-AF3A-4C72-B39A-8482590B4391}" type="presParOf" srcId="{FBB3B595-9CCC-4CEB-B6A1-2B60FA54A69D}" destId="{681D8277-F44E-4020-BA8F-B21DE9D22129}" srcOrd="1" destOrd="0" presId="urn:microsoft.com/office/officeart/2005/8/layout/list1"/>
    <dgm:cxn modelId="{D45C3445-C854-46D4-98E6-770425C0F970}" type="presParOf" srcId="{D941C651-52D6-4A4E-9724-9A0C00ECFD4E}" destId="{B0265A0C-0818-425F-B212-4419026CB951}" srcOrd="9" destOrd="0" presId="urn:microsoft.com/office/officeart/2005/8/layout/list1"/>
    <dgm:cxn modelId="{67F947BD-A97F-4351-A3A3-308F93C16A25}" type="presParOf" srcId="{D941C651-52D6-4A4E-9724-9A0C00ECFD4E}" destId="{72D6B662-1932-47A5-9FA8-94AE9E841ECC}" srcOrd="10" destOrd="0" presId="urn:microsoft.com/office/officeart/2005/8/layout/list1"/>
    <dgm:cxn modelId="{100F0EF3-CA9B-46CA-B053-63D6D8F01202}" type="presParOf" srcId="{D941C651-52D6-4A4E-9724-9A0C00ECFD4E}" destId="{B6605D35-558F-4946-8A45-D15686C53852}" srcOrd="11" destOrd="0" presId="urn:microsoft.com/office/officeart/2005/8/layout/list1"/>
    <dgm:cxn modelId="{B16E154A-CBDC-428F-B482-9AAE98B35DDC}" type="presParOf" srcId="{D941C651-52D6-4A4E-9724-9A0C00ECFD4E}" destId="{8254D5EA-6827-4028-8A6E-EB9BAD579551}" srcOrd="12" destOrd="0" presId="urn:microsoft.com/office/officeart/2005/8/layout/list1"/>
    <dgm:cxn modelId="{8E5077E0-C1B9-4BA3-B2F0-4DF43ECECD0D}" type="presParOf" srcId="{8254D5EA-6827-4028-8A6E-EB9BAD579551}" destId="{7BD2CE33-F020-4C4A-8DCA-F2946BC1463E}" srcOrd="0" destOrd="0" presId="urn:microsoft.com/office/officeart/2005/8/layout/list1"/>
    <dgm:cxn modelId="{95E4BED3-3E87-4E2C-B983-F80B7756A63C}" type="presParOf" srcId="{8254D5EA-6827-4028-8A6E-EB9BAD579551}" destId="{36A3316B-E85E-4FA1-ABEF-A26090E5713B}" srcOrd="1" destOrd="0" presId="urn:microsoft.com/office/officeart/2005/8/layout/list1"/>
    <dgm:cxn modelId="{760488A0-E57D-44B6-AF52-A3D7C4B49E55}" type="presParOf" srcId="{D941C651-52D6-4A4E-9724-9A0C00ECFD4E}" destId="{53A5562F-69E6-476D-8FCB-7468F6ED3035}" srcOrd="13" destOrd="0" presId="urn:microsoft.com/office/officeart/2005/8/layout/list1"/>
    <dgm:cxn modelId="{7D951186-6592-46D0-8972-C9B8F8F7240E}" type="presParOf" srcId="{D941C651-52D6-4A4E-9724-9A0C00ECFD4E}" destId="{0AD4B49D-F363-4E5F-8832-8106C7E24E55}"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DD4CC13-DEC9-4281-A928-82B4A4DA255F}"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E24C3A3D-9EB0-457A-9692-F97ABFDDDEA0}">
      <dgm:prSet phldrT="[Text]"/>
      <dgm:spPr/>
      <dgm:t>
        <a:bodyPr/>
        <a:lstStyle/>
        <a:p>
          <a:r>
            <a:rPr lang="en-US" b="0" dirty="0"/>
            <a:t>Design of Batch processing &amp; Interactive Queries</a:t>
          </a:r>
        </a:p>
      </dgm:t>
    </dgm:pt>
    <dgm:pt modelId="{E8212E5D-9DDB-4A41-8FF6-0875F1510FCB}" type="parTrans" cxnId="{05690577-FC64-4B28-B0EA-0F9C2E294838}">
      <dgm:prSet/>
      <dgm:spPr/>
      <dgm:t>
        <a:bodyPr/>
        <a:lstStyle/>
        <a:p>
          <a:endParaRPr lang="en-US"/>
        </a:p>
      </dgm:t>
    </dgm:pt>
    <dgm:pt modelId="{57D75005-68BF-48B7-AAC4-601DC4D6623C}" type="sibTrans" cxnId="{05690577-FC64-4B28-B0EA-0F9C2E294838}">
      <dgm:prSet/>
      <dgm:spPr/>
      <dgm:t>
        <a:bodyPr/>
        <a:lstStyle/>
        <a:p>
          <a:endParaRPr lang="en-US"/>
        </a:p>
      </dgm:t>
    </dgm:pt>
    <dgm:pt modelId="{985D639F-62E2-44AD-A033-95886179E23A}">
      <dgm:prSet phldrT="[Text]"/>
      <dgm:spPr/>
      <dgm:t>
        <a:bodyPr/>
        <a:lstStyle/>
        <a:p>
          <a:r>
            <a:rPr lang="en-US" b="1" dirty="0">
              <a:solidFill>
                <a:srgbClr val="FFFF00"/>
              </a:solidFill>
            </a:rPr>
            <a:t>Design for Security</a:t>
          </a:r>
        </a:p>
      </dgm:t>
    </dgm:pt>
    <dgm:pt modelId="{54C9FF66-958D-4809-A050-EB4E5DB17B46}" type="parTrans" cxnId="{4A3653BC-5425-448A-AF80-3FE04CCB4624}">
      <dgm:prSet/>
      <dgm:spPr/>
      <dgm:t>
        <a:bodyPr/>
        <a:lstStyle/>
        <a:p>
          <a:endParaRPr lang="en-US"/>
        </a:p>
      </dgm:t>
    </dgm:pt>
    <dgm:pt modelId="{A3212B54-657F-4344-9B45-A2962B7771C5}" type="sibTrans" cxnId="{4A3653BC-5425-448A-AF80-3FE04CCB4624}">
      <dgm:prSet/>
      <dgm:spPr/>
      <dgm:t>
        <a:bodyPr/>
        <a:lstStyle/>
        <a:p>
          <a:endParaRPr lang="en-US"/>
        </a:p>
      </dgm:t>
    </dgm:pt>
    <dgm:pt modelId="{78CD5DFC-4B8C-4246-9E10-3BCC354E575E}">
      <dgm:prSet phldrT="[Text]"/>
      <dgm:spPr/>
      <dgm:t>
        <a:bodyPr/>
        <a:lstStyle/>
        <a:p>
          <a:r>
            <a:rPr lang="en-US" b="0" dirty="0"/>
            <a:t>Design and Provision compute clusters</a:t>
          </a:r>
        </a:p>
      </dgm:t>
    </dgm:pt>
    <dgm:pt modelId="{6247BA0C-94F1-4648-9288-8EDB3E0455F4}" type="sibTrans" cxnId="{A6EACC32-8693-45F3-B2A1-1EEBA5F4DED8}">
      <dgm:prSet/>
      <dgm:spPr/>
      <dgm:t>
        <a:bodyPr/>
        <a:lstStyle/>
        <a:p>
          <a:endParaRPr lang="en-US"/>
        </a:p>
      </dgm:t>
    </dgm:pt>
    <dgm:pt modelId="{7DCE7124-ED11-4DB6-A29B-7F12E6A2EC61}" type="parTrans" cxnId="{A6EACC32-8693-45F3-B2A1-1EEBA5F4DED8}">
      <dgm:prSet/>
      <dgm:spPr/>
      <dgm:t>
        <a:bodyPr/>
        <a:lstStyle/>
        <a:p>
          <a:endParaRPr lang="en-US"/>
        </a:p>
      </dgm:t>
    </dgm:pt>
    <dgm:pt modelId="{849A1B87-900A-437F-A363-8FB8E3AC7552}">
      <dgm:prSet phldrT="[Text]"/>
      <dgm:spPr/>
      <dgm:t>
        <a:bodyPr/>
        <a:lstStyle/>
        <a:p>
          <a:r>
            <a:rPr lang="en-US" b="0" dirty="0"/>
            <a:t>Data Ingestion</a:t>
          </a:r>
        </a:p>
      </dgm:t>
    </dgm:pt>
    <dgm:pt modelId="{DEFE8854-317C-4D85-A34D-F1D9604AC91E}" type="parTrans" cxnId="{AC4CDBAA-9C8B-4D25-8B0B-5E30EA6D817C}">
      <dgm:prSet/>
      <dgm:spPr/>
      <dgm:t>
        <a:bodyPr/>
        <a:lstStyle/>
        <a:p>
          <a:endParaRPr lang="en-US"/>
        </a:p>
      </dgm:t>
    </dgm:pt>
    <dgm:pt modelId="{9C09C0DB-E39C-43A7-9208-C51F444C0ED6}" type="sibTrans" cxnId="{AC4CDBAA-9C8B-4D25-8B0B-5E30EA6D817C}">
      <dgm:prSet/>
      <dgm:spPr/>
      <dgm:t>
        <a:bodyPr/>
        <a:lstStyle/>
        <a:p>
          <a:endParaRPr lang="en-US"/>
        </a:p>
      </dgm:t>
    </dgm:pt>
    <dgm:pt modelId="{D941C651-52D6-4A4E-9724-9A0C00ECFD4E}" type="pres">
      <dgm:prSet presAssocID="{9DD4CC13-DEC9-4281-A928-82B4A4DA255F}" presName="linear" presStyleCnt="0">
        <dgm:presLayoutVars>
          <dgm:dir/>
          <dgm:animLvl val="lvl"/>
          <dgm:resizeHandles val="exact"/>
        </dgm:presLayoutVars>
      </dgm:prSet>
      <dgm:spPr/>
    </dgm:pt>
    <dgm:pt modelId="{14A5195B-1FBA-40B3-9408-A3D798071E0C}" type="pres">
      <dgm:prSet presAssocID="{849A1B87-900A-437F-A363-8FB8E3AC7552}" presName="parentLin" presStyleCnt="0"/>
      <dgm:spPr/>
    </dgm:pt>
    <dgm:pt modelId="{A57743FD-3FD1-42FE-91B3-B12BFA8A218D}" type="pres">
      <dgm:prSet presAssocID="{849A1B87-900A-437F-A363-8FB8E3AC7552}" presName="parentLeftMargin" presStyleLbl="node1" presStyleIdx="0" presStyleCnt="4"/>
      <dgm:spPr/>
    </dgm:pt>
    <dgm:pt modelId="{DA3F7DCA-4A1A-49A8-8B99-A30566ED4C4F}" type="pres">
      <dgm:prSet presAssocID="{849A1B87-900A-437F-A363-8FB8E3AC7552}" presName="parentText" presStyleLbl="node1" presStyleIdx="0" presStyleCnt="4">
        <dgm:presLayoutVars>
          <dgm:chMax val="0"/>
          <dgm:bulletEnabled val="1"/>
        </dgm:presLayoutVars>
      </dgm:prSet>
      <dgm:spPr/>
    </dgm:pt>
    <dgm:pt modelId="{E444AA1F-1814-4920-8942-51A2188ECD5E}" type="pres">
      <dgm:prSet presAssocID="{849A1B87-900A-437F-A363-8FB8E3AC7552}" presName="negativeSpace" presStyleCnt="0"/>
      <dgm:spPr/>
    </dgm:pt>
    <dgm:pt modelId="{9E2D0625-CBAE-4D9E-8C28-B06BC1EE0CE5}" type="pres">
      <dgm:prSet presAssocID="{849A1B87-900A-437F-A363-8FB8E3AC7552}" presName="childText" presStyleLbl="conFgAcc1" presStyleIdx="0" presStyleCnt="4">
        <dgm:presLayoutVars>
          <dgm:bulletEnabled val="1"/>
        </dgm:presLayoutVars>
      </dgm:prSet>
      <dgm:spPr/>
    </dgm:pt>
    <dgm:pt modelId="{2A76BB72-D3F0-4FAE-B74B-026875EE919B}" type="pres">
      <dgm:prSet presAssocID="{9C09C0DB-E39C-43A7-9208-C51F444C0ED6}" presName="spaceBetweenRectangles" presStyleCnt="0"/>
      <dgm:spPr/>
    </dgm:pt>
    <dgm:pt modelId="{E99406B9-BAE0-4E31-B3E6-853D50439E71}" type="pres">
      <dgm:prSet presAssocID="{78CD5DFC-4B8C-4246-9E10-3BCC354E575E}" presName="parentLin" presStyleCnt="0"/>
      <dgm:spPr/>
    </dgm:pt>
    <dgm:pt modelId="{5800143E-DAD7-49D6-8380-CFFD570C0BF9}" type="pres">
      <dgm:prSet presAssocID="{78CD5DFC-4B8C-4246-9E10-3BCC354E575E}" presName="parentLeftMargin" presStyleLbl="node1" presStyleIdx="0" presStyleCnt="4"/>
      <dgm:spPr/>
    </dgm:pt>
    <dgm:pt modelId="{48874FE4-00DA-453E-B084-78E5D0DE2D58}" type="pres">
      <dgm:prSet presAssocID="{78CD5DFC-4B8C-4246-9E10-3BCC354E575E}" presName="parentText" presStyleLbl="node1" presStyleIdx="1" presStyleCnt="4">
        <dgm:presLayoutVars>
          <dgm:chMax val="0"/>
          <dgm:bulletEnabled val="1"/>
        </dgm:presLayoutVars>
      </dgm:prSet>
      <dgm:spPr/>
    </dgm:pt>
    <dgm:pt modelId="{7008F254-D28E-44D9-A32C-A9EFB3D1C420}" type="pres">
      <dgm:prSet presAssocID="{78CD5DFC-4B8C-4246-9E10-3BCC354E575E}" presName="negativeSpace" presStyleCnt="0"/>
      <dgm:spPr/>
    </dgm:pt>
    <dgm:pt modelId="{A33DF34A-C981-4260-A6A0-96A2D1D07D28}" type="pres">
      <dgm:prSet presAssocID="{78CD5DFC-4B8C-4246-9E10-3BCC354E575E}" presName="childText" presStyleLbl="conFgAcc1" presStyleIdx="1" presStyleCnt="4">
        <dgm:presLayoutVars>
          <dgm:bulletEnabled val="1"/>
        </dgm:presLayoutVars>
      </dgm:prSet>
      <dgm:spPr/>
    </dgm:pt>
    <dgm:pt modelId="{DAF3E745-E10F-4303-9300-BFD2EBBBF382}" type="pres">
      <dgm:prSet presAssocID="{6247BA0C-94F1-4648-9288-8EDB3E0455F4}" presName="spaceBetweenRectangles" presStyleCnt="0"/>
      <dgm:spPr/>
    </dgm:pt>
    <dgm:pt modelId="{FBB3B595-9CCC-4CEB-B6A1-2B60FA54A69D}" type="pres">
      <dgm:prSet presAssocID="{E24C3A3D-9EB0-457A-9692-F97ABFDDDEA0}" presName="parentLin" presStyleCnt="0"/>
      <dgm:spPr/>
    </dgm:pt>
    <dgm:pt modelId="{AE4EA73C-3122-4A12-8BF3-633A775643E3}" type="pres">
      <dgm:prSet presAssocID="{E24C3A3D-9EB0-457A-9692-F97ABFDDDEA0}" presName="parentLeftMargin" presStyleLbl="node1" presStyleIdx="1" presStyleCnt="4"/>
      <dgm:spPr/>
    </dgm:pt>
    <dgm:pt modelId="{681D8277-F44E-4020-BA8F-B21DE9D22129}" type="pres">
      <dgm:prSet presAssocID="{E24C3A3D-9EB0-457A-9692-F97ABFDDDEA0}" presName="parentText" presStyleLbl="node1" presStyleIdx="2" presStyleCnt="4">
        <dgm:presLayoutVars>
          <dgm:chMax val="0"/>
          <dgm:bulletEnabled val="1"/>
        </dgm:presLayoutVars>
      </dgm:prSet>
      <dgm:spPr/>
    </dgm:pt>
    <dgm:pt modelId="{B0265A0C-0818-425F-B212-4419026CB951}" type="pres">
      <dgm:prSet presAssocID="{E24C3A3D-9EB0-457A-9692-F97ABFDDDEA0}" presName="negativeSpace" presStyleCnt="0"/>
      <dgm:spPr/>
    </dgm:pt>
    <dgm:pt modelId="{72D6B662-1932-47A5-9FA8-94AE9E841ECC}" type="pres">
      <dgm:prSet presAssocID="{E24C3A3D-9EB0-457A-9692-F97ABFDDDEA0}" presName="childText" presStyleLbl="conFgAcc1" presStyleIdx="2" presStyleCnt="4">
        <dgm:presLayoutVars>
          <dgm:bulletEnabled val="1"/>
        </dgm:presLayoutVars>
      </dgm:prSet>
      <dgm:spPr/>
    </dgm:pt>
    <dgm:pt modelId="{B6605D35-558F-4946-8A45-D15686C53852}" type="pres">
      <dgm:prSet presAssocID="{57D75005-68BF-48B7-AAC4-601DC4D6623C}" presName="spaceBetweenRectangles" presStyleCnt="0"/>
      <dgm:spPr/>
    </dgm:pt>
    <dgm:pt modelId="{8254D5EA-6827-4028-8A6E-EB9BAD579551}" type="pres">
      <dgm:prSet presAssocID="{985D639F-62E2-44AD-A033-95886179E23A}" presName="parentLin" presStyleCnt="0"/>
      <dgm:spPr/>
    </dgm:pt>
    <dgm:pt modelId="{7BD2CE33-F020-4C4A-8DCA-F2946BC1463E}" type="pres">
      <dgm:prSet presAssocID="{985D639F-62E2-44AD-A033-95886179E23A}" presName="parentLeftMargin" presStyleLbl="node1" presStyleIdx="2" presStyleCnt="4"/>
      <dgm:spPr/>
    </dgm:pt>
    <dgm:pt modelId="{36A3316B-E85E-4FA1-ABEF-A26090E5713B}" type="pres">
      <dgm:prSet presAssocID="{985D639F-62E2-44AD-A033-95886179E23A}" presName="parentText" presStyleLbl="node1" presStyleIdx="3" presStyleCnt="4">
        <dgm:presLayoutVars>
          <dgm:chMax val="0"/>
          <dgm:bulletEnabled val="1"/>
        </dgm:presLayoutVars>
      </dgm:prSet>
      <dgm:spPr/>
    </dgm:pt>
    <dgm:pt modelId="{53A5562F-69E6-476D-8FCB-7468F6ED3035}" type="pres">
      <dgm:prSet presAssocID="{985D639F-62E2-44AD-A033-95886179E23A}" presName="negativeSpace" presStyleCnt="0"/>
      <dgm:spPr/>
    </dgm:pt>
    <dgm:pt modelId="{0AD4B49D-F363-4E5F-8832-8106C7E24E55}" type="pres">
      <dgm:prSet presAssocID="{985D639F-62E2-44AD-A033-95886179E23A}" presName="childText" presStyleLbl="conFgAcc1" presStyleIdx="3" presStyleCnt="4">
        <dgm:presLayoutVars>
          <dgm:bulletEnabled val="1"/>
        </dgm:presLayoutVars>
      </dgm:prSet>
      <dgm:spPr/>
    </dgm:pt>
  </dgm:ptLst>
  <dgm:cxnLst>
    <dgm:cxn modelId="{A6EACC32-8693-45F3-B2A1-1EEBA5F4DED8}" srcId="{9DD4CC13-DEC9-4281-A928-82B4A4DA255F}" destId="{78CD5DFC-4B8C-4246-9E10-3BCC354E575E}" srcOrd="1" destOrd="0" parTransId="{7DCE7124-ED11-4DB6-A29B-7F12E6A2EC61}" sibTransId="{6247BA0C-94F1-4648-9288-8EDB3E0455F4}"/>
    <dgm:cxn modelId="{8574E342-9236-40CD-9992-49BC40E3046C}" type="presOf" srcId="{9DD4CC13-DEC9-4281-A928-82B4A4DA255F}" destId="{D941C651-52D6-4A4E-9724-9A0C00ECFD4E}" srcOrd="0" destOrd="0" presId="urn:microsoft.com/office/officeart/2005/8/layout/list1"/>
    <dgm:cxn modelId="{ABDC7E65-9E58-40E6-8C72-FDC18F7A5C6A}" type="presOf" srcId="{78CD5DFC-4B8C-4246-9E10-3BCC354E575E}" destId="{5800143E-DAD7-49D6-8380-CFFD570C0BF9}" srcOrd="0" destOrd="0" presId="urn:microsoft.com/office/officeart/2005/8/layout/list1"/>
    <dgm:cxn modelId="{94EAB074-87DF-4DD0-9C3A-2C857E8A9101}" type="presOf" srcId="{E24C3A3D-9EB0-457A-9692-F97ABFDDDEA0}" destId="{681D8277-F44E-4020-BA8F-B21DE9D22129}" srcOrd="1" destOrd="0" presId="urn:microsoft.com/office/officeart/2005/8/layout/list1"/>
    <dgm:cxn modelId="{05690577-FC64-4B28-B0EA-0F9C2E294838}" srcId="{9DD4CC13-DEC9-4281-A928-82B4A4DA255F}" destId="{E24C3A3D-9EB0-457A-9692-F97ABFDDDEA0}" srcOrd="2" destOrd="0" parTransId="{E8212E5D-9DDB-4A41-8FF6-0875F1510FCB}" sibTransId="{57D75005-68BF-48B7-AAC4-601DC4D6623C}"/>
    <dgm:cxn modelId="{A1752678-1811-4CC1-A1A6-3F33CD6DB2BE}" type="presOf" srcId="{849A1B87-900A-437F-A363-8FB8E3AC7552}" destId="{A57743FD-3FD1-42FE-91B3-B12BFA8A218D}" srcOrd="0" destOrd="0" presId="urn:microsoft.com/office/officeart/2005/8/layout/list1"/>
    <dgm:cxn modelId="{CE12128B-8183-4A77-B5D8-BA268B9B1BAE}" type="presOf" srcId="{78CD5DFC-4B8C-4246-9E10-3BCC354E575E}" destId="{48874FE4-00DA-453E-B084-78E5D0DE2D58}" srcOrd="1" destOrd="0" presId="urn:microsoft.com/office/officeart/2005/8/layout/list1"/>
    <dgm:cxn modelId="{E7BB7095-D71A-49E4-A0BF-AB4CCD1FC87A}" type="presOf" srcId="{985D639F-62E2-44AD-A033-95886179E23A}" destId="{7BD2CE33-F020-4C4A-8DCA-F2946BC1463E}" srcOrd="0" destOrd="0" presId="urn:microsoft.com/office/officeart/2005/8/layout/list1"/>
    <dgm:cxn modelId="{E8729B95-345E-4630-9F8A-E3CD3A2E3712}" type="presOf" srcId="{E24C3A3D-9EB0-457A-9692-F97ABFDDDEA0}" destId="{AE4EA73C-3122-4A12-8BF3-633A775643E3}" srcOrd="0" destOrd="0" presId="urn:microsoft.com/office/officeart/2005/8/layout/list1"/>
    <dgm:cxn modelId="{AC4CDBAA-9C8B-4D25-8B0B-5E30EA6D817C}" srcId="{9DD4CC13-DEC9-4281-A928-82B4A4DA255F}" destId="{849A1B87-900A-437F-A363-8FB8E3AC7552}" srcOrd="0" destOrd="0" parTransId="{DEFE8854-317C-4D85-A34D-F1D9604AC91E}" sibTransId="{9C09C0DB-E39C-43A7-9208-C51F444C0ED6}"/>
    <dgm:cxn modelId="{4A3653BC-5425-448A-AF80-3FE04CCB4624}" srcId="{9DD4CC13-DEC9-4281-A928-82B4A4DA255F}" destId="{985D639F-62E2-44AD-A033-95886179E23A}" srcOrd="3" destOrd="0" parTransId="{54C9FF66-958D-4809-A050-EB4E5DB17B46}" sibTransId="{A3212B54-657F-4344-9B45-A2962B7771C5}"/>
    <dgm:cxn modelId="{D15FCAE0-A3C2-42B9-A1EA-13C8F06632F7}" type="presOf" srcId="{849A1B87-900A-437F-A363-8FB8E3AC7552}" destId="{DA3F7DCA-4A1A-49A8-8B99-A30566ED4C4F}" srcOrd="1" destOrd="0" presId="urn:microsoft.com/office/officeart/2005/8/layout/list1"/>
    <dgm:cxn modelId="{9BBCEFF5-F54B-400D-8DFF-FBDF47CF6351}" type="presOf" srcId="{985D639F-62E2-44AD-A033-95886179E23A}" destId="{36A3316B-E85E-4FA1-ABEF-A26090E5713B}" srcOrd="1" destOrd="0" presId="urn:microsoft.com/office/officeart/2005/8/layout/list1"/>
    <dgm:cxn modelId="{DC58DF7E-1923-404C-B5C6-CAA245B555D1}" type="presParOf" srcId="{D941C651-52D6-4A4E-9724-9A0C00ECFD4E}" destId="{14A5195B-1FBA-40B3-9408-A3D798071E0C}" srcOrd="0" destOrd="0" presId="urn:microsoft.com/office/officeart/2005/8/layout/list1"/>
    <dgm:cxn modelId="{1EBCE0C9-AE39-479B-A0D9-DA69866BA055}" type="presParOf" srcId="{14A5195B-1FBA-40B3-9408-A3D798071E0C}" destId="{A57743FD-3FD1-42FE-91B3-B12BFA8A218D}" srcOrd="0" destOrd="0" presId="urn:microsoft.com/office/officeart/2005/8/layout/list1"/>
    <dgm:cxn modelId="{22D17B43-CBC5-4D89-959A-61BE815754D8}" type="presParOf" srcId="{14A5195B-1FBA-40B3-9408-A3D798071E0C}" destId="{DA3F7DCA-4A1A-49A8-8B99-A30566ED4C4F}" srcOrd="1" destOrd="0" presId="urn:microsoft.com/office/officeart/2005/8/layout/list1"/>
    <dgm:cxn modelId="{5B745E17-5AF6-4100-AC18-5AD41F916B98}" type="presParOf" srcId="{D941C651-52D6-4A4E-9724-9A0C00ECFD4E}" destId="{E444AA1F-1814-4920-8942-51A2188ECD5E}" srcOrd="1" destOrd="0" presId="urn:microsoft.com/office/officeart/2005/8/layout/list1"/>
    <dgm:cxn modelId="{953C44EA-C428-4C63-A13A-D7FC6C61D4A9}" type="presParOf" srcId="{D941C651-52D6-4A4E-9724-9A0C00ECFD4E}" destId="{9E2D0625-CBAE-4D9E-8C28-B06BC1EE0CE5}" srcOrd="2" destOrd="0" presId="urn:microsoft.com/office/officeart/2005/8/layout/list1"/>
    <dgm:cxn modelId="{F2D89510-ABBA-418F-8F6B-BE54727AEA13}" type="presParOf" srcId="{D941C651-52D6-4A4E-9724-9A0C00ECFD4E}" destId="{2A76BB72-D3F0-4FAE-B74B-026875EE919B}" srcOrd="3" destOrd="0" presId="urn:microsoft.com/office/officeart/2005/8/layout/list1"/>
    <dgm:cxn modelId="{FBAE2614-38AA-4865-879D-749BE9BFE87F}" type="presParOf" srcId="{D941C651-52D6-4A4E-9724-9A0C00ECFD4E}" destId="{E99406B9-BAE0-4E31-B3E6-853D50439E71}" srcOrd="4" destOrd="0" presId="urn:microsoft.com/office/officeart/2005/8/layout/list1"/>
    <dgm:cxn modelId="{A3EA3B83-2E59-4009-9FE8-5DFE11731E56}" type="presParOf" srcId="{E99406B9-BAE0-4E31-B3E6-853D50439E71}" destId="{5800143E-DAD7-49D6-8380-CFFD570C0BF9}" srcOrd="0" destOrd="0" presId="urn:microsoft.com/office/officeart/2005/8/layout/list1"/>
    <dgm:cxn modelId="{B431692F-D377-4B8D-884E-134F2F77AD86}" type="presParOf" srcId="{E99406B9-BAE0-4E31-B3E6-853D50439E71}" destId="{48874FE4-00DA-453E-B084-78E5D0DE2D58}" srcOrd="1" destOrd="0" presId="urn:microsoft.com/office/officeart/2005/8/layout/list1"/>
    <dgm:cxn modelId="{47F8C0B5-A508-4B6B-A529-F2CCF9E501E0}" type="presParOf" srcId="{D941C651-52D6-4A4E-9724-9A0C00ECFD4E}" destId="{7008F254-D28E-44D9-A32C-A9EFB3D1C420}" srcOrd="5" destOrd="0" presId="urn:microsoft.com/office/officeart/2005/8/layout/list1"/>
    <dgm:cxn modelId="{639BDA11-EDE7-4D0D-BDA9-86ADD4CC6CAC}" type="presParOf" srcId="{D941C651-52D6-4A4E-9724-9A0C00ECFD4E}" destId="{A33DF34A-C981-4260-A6A0-96A2D1D07D28}" srcOrd="6" destOrd="0" presId="urn:microsoft.com/office/officeart/2005/8/layout/list1"/>
    <dgm:cxn modelId="{22F24867-057B-4094-B850-5F4D70B30BEA}" type="presParOf" srcId="{D941C651-52D6-4A4E-9724-9A0C00ECFD4E}" destId="{DAF3E745-E10F-4303-9300-BFD2EBBBF382}" srcOrd="7" destOrd="0" presId="urn:microsoft.com/office/officeart/2005/8/layout/list1"/>
    <dgm:cxn modelId="{88E5C66C-3508-4DEF-96EE-C986D24D90D2}" type="presParOf" srcId="{D941C651-52D6-4A4E-9724-9A0C00ECFD4E}" destId="{FBB3B595-9CCC-4CEB-B6A1-2B60FA54A69D}" srcOrd="8" destOrd="0" presId="urn:microsoft.com/office/officeart/2005/8/layout/list1"/>
    <dgm:cxn modelId="{E6064352-919E-4419-BBF7-F63EA3291301}" type="presParOf" srcId="{FBB3B595-9CCC-4CEB-B6A1-2B60FA54A69D}" destId="{AE4EA73C-3122-4A12-8BF3-633A775643E3}" srcOrd="0" destOrd="0" presId="urn:microsoft.com/office/officeart/2005/8/layout/list1"/>
    <dgm:cxn modelId="{268FEDFE-AF3A-4C72-B39A-8482590B4391}" type="presParOf" srcId="{FBB3B595-9CCC-4CEB-B6A1-2B60FA54A69D}" destId="{681D8277-F44E-4020-BA8F-B21DE9D22129}" srcOrd="1" destOrd="0" presId="urn:microsoft.com/office/officeart/2005/8/layout/list1"/>
    <dgm:cxn modelId="{D45C3445-C854-46D4-98E6-770425C0F970}" type="presParOf" srcId="{D941C651-52D6-4A4E-9724-9A0C00ECFD4E}" destId="{B0265A0C-0818-425F-B212-4419026CB951}" srcOrd="9" destOrd="0" presId="urn:microsoft.com/office/officeart/2005/8/layout/list1"/>
    <dgm:cxn modelId="{67F947BD-A97F-4351-A3A3-308F93C16A25}" type="presParOf" srcId="{D941C651-52D6-4A4E-9724-9A0C00ECFD4E}" destId="{72D6B662-1932-47A5-9FA8-94AE9E841ECC}" srcOrd="10" destOrd="0" presId="urn:microsoft.com/office/officeart/2005/8/layout/list1"/>
    <dgm:cxn modelId="{100F0EF3-CA9B-46CA-B053-63D6D8F01202}" type="presParOf" srcId="{D941C651-52D6-4A4E-9724-9A0C00ECFD4E}" destId="{B6605D35-558F-4946-8A45-D15686C53852}" srcOrd="11" destOrd="0" presId="urn:microsoft.com/office/officeart/2005/8/layout/list1"/>
    <dgm:cxn modelId="{B16E154A-CBDC-428F-B482-9AAE98B35DDC}" type="presParOf" srcId="{D941C651-52D6-4A4E-9724-9A0C00ECFD4E}" destId="{8254D5EA-6827-4028-8A6E-EB9BAD579551}" srcOrd="12" destOrd="0" presId="urn:microsoft.com/office/officeart/2005/8/layout/list1"/>
    <dgm:cxn modelId="{8E5077E0-C1B9-4BA3-B2F0-4DF43ECECD0D}" type="presParOf" srcId="{8254D5EA-6827-4028-8A6E-EB9BAD579551}" destId="{7BD2CE33-F020-4C4A-8DCA-F2946BC1463E}" srcOrd="0" destOrd="0" presId="urn:microsoft.com/office/officeart/2005/8/layout/list1"/>
    <dgm:cxn modelId="{95E4BED3-3E87-4E2C-B983-F80B7756A63C}" type="presParOf" srcId="{8254D5EA-6827-4028-8A6E-EB9BAD579551}" destId="{36A3316B-E85E-4FA1-ABEF-A26090E5713B}" srcOrd="1" destOrd="0" presId="urn:microsoft.com/office/officeart/2005/8/layout/list1"/>
    <dgm:cxn modelId="{760488A0-E57D-44B6-AF52-A3D7C4B49E55}" type="presParOf" srcId="{D941C651-52D6-4A4E-9724-9A0C00ECFD4E}" destId="{53A5562F-69E6-476D-8FCB-7468F6ED3035}" srcOrd="13" destOrd="0" presId="urn:microsoft.com/office/officeart/2005/8/layout/list1"/>
    <dgm:cxn modelId="{7D951186-6592-46D0-8972-C9B8F8F7240E}" type="presParOf" srcId="{D941C651-52D6-4A4E-9724-9A0C00ECFD4E}" destId="{0AD4B49D-F363-4E5F-8832-8106C7E24E55}"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2D0625-CBAE-4D9E-8C28-B06BC1EE0CE5}">
      <dsp:nvSpPr>
        <dsp:cNvPr id="0" name=""/>
        <dsp:cNvSpPr/>
      </dsp:nvSpPr>
      <dsp:spPr>
        <a:xfrm>
          <a:off x="0" y="521029"/>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A3F7DCA-4A1A-49A8-8B99-A30566ED4C4F}">
      <dsp:nvSpPr>
        <dsp:cNvPr id="0" name=""/>
        <dsp:cNvSpPr/>
      </dsp:nvSpPr>
      <dsp:spPr>
        <a:xfrm>
          <a:off x="576262" y="9298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b="1" kern="1200" dirty="0">
              <a:solidFill>
                <a:srgbClr val="FFFF00"/>
              </a:solidFill>
            </a:rPr>
            <a:t>Data Ingestion</a:t>
          </a:r>
        </a:p>
      </dsp:txBody>
      <dsp:txXfrm>
        <a:off x="618052" y="134779"/>
        <a:ext cx="7984095" cy="772500"/>
      </dsp:txXfrm>
    </dsp:sp>
    <dsp:sp modelId="{A33DF34A-C981-4260-A6A0-96A2D1D07D28}">
      <dsp:nvSpPr>
        <dsp:cNvPr id="0" name=""/>
        <dsp:cNvSpPr/>
      </dsp:nvSpPr>
      <dsp:spPr>
        <a:xfrm>
          <a:off x="0" y="1836469"/>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8874FE4-00DA-453E-B084-78E5D0DE2D58}">
      <dsp:nvSpPr>
        <dsp:cNvPr id="0" name=""/>
        <dsp:cNvSpPr/>
      </dsp:nvSpPr>
      <dsp:spPr>
        <a:xfrm>
          <a:off x="576262" y="140842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kern="1200" dirty="0"/>
            <a:t>Design and Provision compute clusters</a:t>
          </a:r>
        </a:p>
      </dsp:txBody>
      <dsp:txXfrm>
        <a:off x="618052" y="1450219"/>
        <a:ext cx="7984095" cy="772500"/>
      </dsp:txXfrm>
    </dsp:sp>
    <dsp:sp modelId="{72D6B662-1932-47A5-9FA8-94AE9E841ECC}">
      <dsp:nvSpPr>
        <dsp:cNvPr id="0" name=""/>
        <dsp:cNvSpPr/>
      </dsp:nvSpPr>
      <dsp:spPr>
        <a:xfrm>
          <a:off x="0" y="3151909"/>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81D8277-F44E-4020-BA8F-B21DE9D22129}">
      <dsp:nvSpPr>
        <dsp:cNvPr id="0" name=""/>
        <dsp:cNvSpPr/>
      </dsp:nvSpPr>
      <dsp:spPr>
        <a:xfrm>
          <a:off x="576262" y="272386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kern="1200" dirty="0"/>
            <a:t>Design of Batch processing &amp; Interactive Queries</a:t>
          </a:r>
        </a:p>
      </dsp:txBody>
      <dsp:txXfrm>
        <a:off x="618052" y="2765659"/>
        <a:ext cx="7984095" cy="772500"/>
      </dsp:txXfrm>
    </dsp:sp>
    <dsp:sp modelId="{0AD4B49D-F363-4E5F-8832-8106C7E24E55}">
      <dsp:nvSpPr>
        <dsp:cNvPr id="0" name=""/>
        <dsp:cNvSpPr/>
      </dsp:nvSpPr>
      <dsp:spPr>
        <a:xfrm>
          <a:off x="0" y="4467348"/>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6A3316B-E85E-4FA1-ABEF-A26090E5713B}">
      <dsp:nvSpPr>
        <dsp:cNvPr id="0" name=""/>
        <dsp:cNvSpPr/>
      </dsp:nvSpPr>
      <dsp:spPr>
        <a:xfrm>
          <a:off x="576262" y="403930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kern="1200" dirty="0"/>
            <a:t>Design for Security</a:t>
          </a:r>
        </a:p>
      </dsp:txBody>
      <dsp:txXfrm>
        <a:off x="618052" y="4081099"/>
        <a:ext cx="7984095" cy="7725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2D0625-CBAE-4D9E-8C28-B06BC1EE0CE5}">
      <dsp:nvSpPr>
        <dsp:cNvPr id="0" name=""/>
        <dsp:cNvSpPr/>
      </dsp:nvSpPr>
      <dsp:spPr>
        <a:xfrm>
          <a:off x="0" y="521029"/>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A3F7DCA-4A1A-49A8-8B99-A30566ED4C4F}">
      <dsp:nvSpPr>
        <dsp:cNvPr id="0" name=""/>
        <dsp:cNvSpPr/>
      </dsp:nvSpPr>
      <dsp:spPr>
        <a:xfrm>
          <a:off x="576262" y="9298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b="0" kern="1200" dirty="0"/>
            <a:t>Data Ingestion</a:t>
          </a:r>
        </a:p>
      </dsp:txBody>
      <dsp:txXfrm>
        <a:off x="618052" y="134779"/>
        <a:ext cx="7984095" cy="772500"/>
      </dsp:txXfrm>
    </dsp:sp>
    <dsp:sp modelId="{A33DF34A-C981-4260-A6A0-96A2D1D07D28}">
      <dsp:nvSpPr>
        <dsp:cNvPr id="0" name=""/>
        <dsp:cNvSpPr/>
      </dsp:nvSpPr>
      <dsp:spPr>
        <a:xfrm>
          <a:off x="0" y="1836469"/>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8874FE4-00DA-453E-B084-78E5D0DE2D58}">
      <dsp:nvSpPr>
        <dsp:cNvPr id="0" name=""/>
        <dsp:cNvSpPr/>
      </dsp:nvSpPr>
      <dsp:spPr>
        <a:xfrm>
          <a:off x="576262" y="140842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b="1" kern="1200" dirty="0">
              <a:solidFill>
                <a:srgbClr val="FFFF00"/>
              </a:solidFill>
            </a:rPr>
            <a:t>Design and Provision compute clusters</a:t>
          </a:r>
        </a:p>
      </dsp:txBody>
      <dsp:txXfrm>
        <a:off x="618052" y="1450219"/>
        <a:ext cx="7984095" cy="772500"/>
      </dsp:txXfrm>
    </dsp:sp>
    <dsp:sp modelId="{72D6B662-1932-47A5-9FA8-94AE9E841ECC}">
      <dsp:nvSpPr>
        <dsp:cNvPr id="0" name=""/>
        <dsp:cNvSpPr/>
      </dsp:nvSpPr>
      <dsp:spPr>
        <a:xfrm>
          <a:off x="0" y="3151909"/>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81D8277-F44E-4020-BA8F-B21DE9D22129}">
      <dsp:nvSpPr>
        <dsp:cNvPr id="0" name=""/>
        <dsp:cNvSpPr/>
      </dsp:nvSpPr>
      <dsp:spPr>
        <a:xfrm>
          <a:off x="576262" y="272386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kern="1200" dirty="0"/>
            <a:t>Design of Batch processing &amp; Interactive Queries</a:t>
          </a:r>
        </a:p>
      </dsp:txBody>
      <dsp:txXfrm>
        <a:off x="618052" y="2765659"/>
        <a:ext cx="7984095" cy="772500"/>
      </dsp:txXfrm>
    </dsp:sp>
    <dsp:sp modelId="{0AD4B49D-F363-4E5F-8832-8106C7E24E55}">
      <dsp:nvSpPr>
        <dsp:cNvPr id="0" name=""/>
        <dsp:cNvSpPr/>
      </dsp:nvSpPr>
      <dsp:spPr>
        <a:xfrm>
          <a:off x="0" y="4467348"/>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6A3316B-E85E-4FA1-ABEF-A26090E5713B}">
      <dsp:nvSpPr>
        <dsp:cNvPr id="0" name=""/>
        <dsp:cNvSpPr/>
      </dsp:nvSpPr>
      <dsp:spPr>
        <a:xfrm>
          <a:off x="576262" y="403930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kern="1200" dirty="0"/>
            <a:t>Design for Security</a:t>
          </a:r>
        </a:p>
      </dsp:txBody>
      <dsp:txXfrm>
        <a:off x="618052" y="4081099"/>
        <a:ext cx="7984095" cy="7725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2D0625-CBAE-4D9E-8C28-B06BC1EE0CE5}">
      <dsp:nvSpPr>
        <dsp:cNvPr id="0" name=""/>
        <dsp:cNvSpPr/>
      </dsp:nvSpPr>
      <dsp:spPr>
        <a:xfrm>
          <a:off x="0" y="814068"/>
          <a:ext cx="11525250" cy="63000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A3F7DCA-4A1A-49A8-8B99-A30566ED4C4F}">
      <dsp:nvSpPr>
        <dsp:cNvPr id="0" name=""/>
        <dsp:cNvSpPr/>
      </dsp:nvSpPr>
      <dsp:spPr>
        <a:xfrm>
          <a:off x="576262" y="445068"/>
          <a:ext cx="8067675" cy="73800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111250">
            <a:lnSpc>
              <a:spcPct val="90000"/>
            </a:lnSpc>
            <a:spcBef>
              <a:spcPct val="0"/>
            </a:spcBef>
            <a:spcAft>
              <a:spcPct val="35000"/>
            </a:spcAft>
            <a:buNone/>
          </a:pPr>
          <a:r>
            <a:rPr lang="en-US" sz="2500" b="0" kern="1200" dirty="0"/>
            <a:t>Data Ingestion</a:t>
          </a:r>
        </a:p>
      </dsp:txBody>
      <dsp:txXfrm>
        <a:off x="612288" y="481094"/>
        <a:ext cx="7995623" cy="665948"/>
      </dsp:txXfrm>
    </dsp:sp>
    <dsp:sp modelId="{A33DF34A-C981-4260-A6A0-96A2D1D07D28}">
      <dsp:nvSpPr>
        <dsp:cNvPr id="0" name=""/>
        <dsp:cNvSpPr/>
      </dsp:nvSpPr>
      <dsp:spPr>
        <a:xfrm>
          <a:off x="0" y="1948069"/>
          <a:ext cx="11525250" cy="63000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8874FE4-00DA-453E-B084-78E5D0DE2D58}">
      <dsp:nvSpPr>
        <dsp:cNvPr id="0" name=""/>
        <dsp:cNvSpPr/>
      </dsp:nvSpPr>
      <dsp:spPr>
        <a:xfrm>
          <a:off x="576262" y="1579068"/>
          <a:ext cx="8067675" cy="73800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111250">
            <a:lnSpc>
              <a:spcPct val="90000"/>
            </a:lnSpc>
            <a:spcBef>
              <a:spcPct val="0"/>
            </a:spcBef>
            <a:spcAft>
              <a:spcPct val="35000"/>
            </a:spcAft>
            <a:buNone/>
          </a:pPr>
          <a:r>
            <a:rPr lang="en-US" sz="2500" b="0" kern="1200" dirty="0"/>
            <a:t>Design and Provision compute clusters</a:t>
          </a:r>
        </a:p>
      </dsp:txBody>
      <dsp:txXfrm>
        <a:off x="612288" y="1615094"/>
        <a:ext cx="7995623" cy="665948"/>
      </dsp:txXfrm>
    </dsp:sp>
    <dsp:sp modelId="{72D6B662-1932-47A5-9FA8-94AE9E841ECC}">
      <dsp:nvSpPr>
        <dsp:cNvPr id="0" name=""/>
        <dsp:cNvSpPr/>
      </dsp:nvSpPr>
      <dsp:spPr>
        <a:xfrm>
          <a:off x="0" y="3082069"/>
          <a:ext cx="11525250" cy="63000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81D8277-F44E-4020-BA8F-B21DE9D22129}">
      <dsp:nvSpPr>
        <dsp:cNvPr id="0" name=""/>
        <dsp:cNvSpPr/>
      </dsp:nvSpPr>
      <dsp:spPr>
        <a:xfrm>
          <a:off x="576262" y="2713069"/>
          <a:ext cx="8067675" cy="73800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111250">
            <a:lnSpc>
              <a:spcPct val="90000"/>
            </a:lnSpc>
            <a:spcBef>
              <a:spcPct val="0"/>
            </a:spcBef>
            <a:spcAft>
              <a:spcPct val="35000"/>
            </a:spcAft>
            <a:buNone/>
          </a:pPr>
          <a:r>
            <a:rPr lang="en-US" sz="2500" b="1" kern="1200" dirty="0">
              <a:solidFill>
                <a:srgbClr val="FFFF00"/>
              </a:solidFill>
            </a:rPr>
            <a:t>Design of Batch processing &amp; Interactive Queries</a:t>
          </a:r>
        </a:p>
      </dsp:txBody>
      <dsp:txXfrm>
        <a:off x="612288" y="2749095"/>
        <a:ext cx="7995623" cy="665948"/>
      </dsp:txXfrm>
    </dsp:sp>
    <dsp:sp modelId="{0AD4B49D-F363-4E5F-8832-8106C7E24E55}">
      <dsp:nvSpPr>
        <dsp:cNvPr id="0" name=""/>
        <dsp:cNvSpPr/>
      </dsp:nvSpPr>
      <dsp:spPr>
        <a:xfrm>
          <a:off x="0" y="4216069"/>
          <a:ext cx="11525250" cy="63000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6A3316B-E85E-4FA1-ABEF-A26090E5713B}">
      <dsp:nvSpPr>
        <dsp:cNvPr id="0" name=""/>
        <dsp:cNvSpPr/>
      </dsp:nvSpPr>
      <dsp:spPr>
        <a:xfrm>
          <a:off x="576262" y="3847069"/>
          <a:ext cx="8067675" cy="73800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111250">
            <a:lnSpc>
              <a:spcPct val="90000"/>
            </a:lnSpc>
            <a:spcBef>
              <a:spcPct val="0"/>
            </a:spcBef>
            <a:spcAft>
              <a:spcPct val="35000"/>
            </a:spcAft>
            <a:buNone/>
          </a:pPr>
          <a:r>
            <a:rPr lang="en-US" sz="2500" kern="1200" dirty="0"/>
            <a:t>Design for Security</a:t>
          </a:r>
        </a:p>
      </dsp:txBody>
      <dsp:txXfrm>
        <a:off x="612288" y="3883095"/>
        <a:ext cx="7995623" cy="66594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2D0625-CBAE-4D9E-8C28-B06BC1EE0CE5}">
      <dsp:nvSpPr>
        <dsp:cNvPr id="0" name=""/>
        <dsp:cNvSpPr/>
      </dsp:nvSpPr>
      <dsp:spPr>
        <a:xfrm>
          <a:off x="0" y="521029"/>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A3F7DCA-4A1A-49A8-8B99-A30566ED4C4F}">
      <dsp:nvSpPr>
        <dsp:cNvPr id="0" name=""/>
        <dsp:cNvSpPr/>
      </dsp:nvSpPr>
      <dsp:spPr>
        <a:xfrm>
          <a:off x="576262" y="9298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b="0" kern="1200" dirty="0"/>
            <a:t>Data Ingestion</a:t>
          </a:r>
        </a:p>
      </dsp:txBody>
      <dsp:txXfrm>
        <a:off x="618052" y="134779"/>
        <a:ext cx="7984095" cy="772500"/>
      </dsp:txXfrm>
    </dsp:sp>
    <dsp:sp modelId="{A33DF34A-C981-4260-A6A0-96A2D1D07D28}">
      <dsp:nvSpPr>
        <dsp:cNvPr id="0" name=""/>
        <dsp:cNvSpPr/>
      </dsp:nvSpPr>
      <dsp:spPr>
        <a:xfrm>
          <a:off x="0" y="1836469"/>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8874FE4-00DA-453E-B084-78E5D0DE2D58}">
      <dsp:nvSpPr>
        <dsp:cNvPr id="0" name=""/>
        <dsp:cNvSpPr/>
      </dsp:nvSpPr>
      <dsp:spPr>
        <a:xfrm>
          <a:off x="576262" y="140842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b="0" kern="1200" dirty="0"/>
            <a:t>Design and Provision compute clusters</a:t>
          </a:r>
        </a:p>
      </dsp:txBody>
      <dsp:txXfrm>
        <a:off x="618052" y="1450219"/>
        <a:ext cx="7984095" cy="772500"/>
      </dsp:txXfrm>
    </dsp:sp>
    <dsp:sp modelId="{72D6B662-1932-47A5-9FA8-94AE9E841ECC}">
      <dsp:nvSpPr>
        <dsp:cNvPr id="0" name=""/>
        <dsp:cNvSpPr/>
      </dsp:nvSpPr>
      <dsp:spPr>
        <a:xfrm>
          <a:off x="0" y="3151909"/>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81D8277-F44E-4020-BA8F-B21DE9D22129}">
      <dsp:nvSpPr>
        <dsp:cNvPr id="0" name=""/>
        <dsp:cNvSpPr/>
      </dsp:nvSpPr>
      <dsp:spPr>
        <a:xfrm>
          <a:off x="576262" y="272386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b="0" kern="1200" dirty="0"/>
            <a:t>Design of Batch processing &amp; Interactive Queries</a:t>
          </a:r>
        </a:p>
      </dsp:txBody>
      <dsp:txXfrm>
        <a:off x="618052" y="2765659"/>
        <a:ext cx="7984095" cy="772500"/>
      </dsp:txXfrm>
    </dsp:sp>
    <dsp:sp modelId="{0AD4B49D-F363-4E5F-8832-8106C7E24E55}">
      <dsp:nvSpPr>
        <dsp:cNvPr id="0" name=""/>
        <dsp:cNvSpPr/>
      </dsp:nvSpPr>
      <dsp:spPr>
        <a:xfrm>
          <a:off x="0" y="4467348"/>
          <a:ext cx="11525250" cy="730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6A3316B-E85E-4FA1-ABEF-A26090E5713B}">
      <dsp:nvSpPr>
        <dsp:cNvPr id="0" name=""/>
        <dsp:cNvSpPr/>
      </dsp:nvSpPr>
      <dsp:spPr>
        <a:xfrm>
          <a:off x="576262" y="4039309"/>
          <a:ext cx="8067675" cy="856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939" tIns="0" rIns="304939" bIns="0" numCol="1" spcCol="1270" anchor="ctr" anchorCtr="0">
          <a:noAutofit/>
        </a:bodyPr>
        <a:lstStyle/>
        <a:p>
          <a:pPr marL="0" lvl="0" indent="0" algn="l" defTabSz="1289050">
            <a:lnSpc>
              <a:spcPct val="90000"/>
            </a:lnSpc>
            <a:spcBef>
              <a:spcPct val="0"/>
            </a:spcBef>
            <a:spcAft>
              <a:spcPct val="35000"/>
            </a:spcAft>
            <a:buNone/>
          </a:pPr>
          <a:r>
            <a:rPr lang="en-US" sz="2900" b="1" kern="1200" dirty="0">
              <a:solidFill>
                <a:srgbClr val="FFFF00"/>
              </a:solidFill>
            </a:rPr>
            <a:t>Design for Security</a:t>
          </a:r>
        </a:p>
      </dsp:txBody>
      <dsp:txXfrm>
        <a:off x="618052" y="4081099"/>
        <a:ext cx="7984095" cy="77250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2E7B4A-039C-48A2-9B2C-AF16AA3873D8}" type="datetimeFigureOut">
              <a:rPr lang="en-US" smtClean="0"/>
              <a:t>12/5/2017</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F5FCDD8-505C-48BF-B1E5-CD9B258934D2}" type="slidenum">
              <a:rPr lang="en-US" smtClean="0"/>
              <a:t>‹#›</a:t>
            </a:fld>
            <a:endParaRPr lang="en-US" dirty="0"/>
          </a:p>
        </p:txBody>
      </p:sp>
    </p:spTree>
    <p:extLst>
      <p:ext uri="{BB962C8B-B14F-4D97-AF65-F5344CB8AC3E}">
        <p14:creationId xmlns:p14="http://schemas.microsoft.com/office/powerpoint/2010/main" val="17819227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005A0C-54D9-45AA-87D4-C551D08DFCE1}" type="datetimeFigureOut">
              <a:rPr lang="en-US" smtClean="0"/>
              <a:t>12/5/2017</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FD207A-07DF-40AD-A916-9872E089CE7A}" type="slidenum">
              <a:rPr lang="en-US" smtClean="0"/>
              <a:t>‹#›</a:t>
            </a:fld>
            <a:endParaRPr lang="en-US" dirty="0"/>
          </a:p>
        </p:txBody>
      </p:sp>
    </p:spTree>
    <p:extLst>
      <p:ext uri="{BB962C8B-B14F-4D97-AF65-F5344CB8AC3E}">
        <p14:creationId xmlns:p14="http://schemas.microsoft.com/office/powerpoint/2010/main" val="1295718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github.com/Parquet/parquet-mr/wiki/The-striping-and-assembly-algorithms-from-the-Dremel-paper" TargetMode="External"/><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1</a:t>
            </a:fld>
            <a:endParaRPr lang="en-US" dirty="0"/>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886893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ORC for example already has 256MB blocks per default because it normally can skip a lot of data internally. </a:t>
            </a:r>
          </a:p>
          <a:p>
            <a:pPr lvl="0"/>
            <a:r>
              <a:rPr lang="en-US" dirty="0"/>
              <a:t>On the other hand if you run heavy analytic tasks on smaller data (like data mining) </a:t>
            </a:r>
          </a:p>
          <a:p>
            <a:pPr lvl="0"/>
            <a:r>
              <a:rPr lang="en-US" dirty="0"/>
              <a:t>a smaller block size might be better because your task will be heavily CPU bound and a single block could take a long time. </a:t>
            </a:r>
          </a:p>
          <a:p>
            <a:pPr lvl="0"/>
            <a:r>
              <a:rPr lang="en-US" dirty="0"/>
              <a:t>So the answer as usually is:</a:t>
            </a:r>
          </a:p>
          <a:p>
            <a:pPr lvl="0"/>
            <a:r>
              <a:rPr lang="en-US" dirty="0"/>
              <a:t>It depends and you have to try it out for yourself what works in your specific scenario. </a:t>
            </a:r>
          </a:p>
          <a:p>
            <a:pPr lvl="0"/>
            <a:r>
              <a:rPr lang="en-US" dirty="0"/>
              <a:t>128MB is a good default but 256MB might work as well. </a:t>
            </a:r>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FD44857-BBF3-43F9-97EC-D5B2C6D75886}"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20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480799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ncreasing replication to 4 or more only makes sense in DR situations, where you want, say, 2 copies at each of two sites, but then you should be using Falcon or similar to maintain the DR copies, not HDFS replication. On the other hand, replication = 2 definitely leaves your data vulnerable to "it can't happen to me" scenarios -- it only takes the wrong two disk drives to fail at the same time, and at some point they will. So decreasing replication below 3 only makes sense if it is low value data or you're using RAID or other highly reliable storage to protect your data.</a:t>
            </a:r>
            <a:endParaRPr lang="en-IN"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FD44857-BBF3-43F9-97EC-D5B2C6D75886}"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20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918934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lob Storage stores unstructured object data. A blob can be any type of text or binary data, such as a document, media file, or application installer. Blob storage is also referred to as Object storage.</a:t>
            </a:r>
          </a:p>
          <a:p>
            <a:pPr defTabSz="856869" fontAlgn="base">
              <a:spcBef>
                <a:spcPct val="0"/>
              </a:spcBef>
              <a:spcAft>
                <a:spcPct val="0"/>
              </a:spcAft>
            </a:pPr>
            <a:r>
              <a:rPr lang="en-US" sz="1200" dirty="0">
                <a:gradFill>
                  <a:gsLst>
                    <a:gs pos="0">
                      <a:srgbClr val="FFFFFF"/>
                    </a:gs>
                    <a:gs pos="100000">
                      <a:srgbClr val="FFFFFF"/>
                    </a:gs>
                  </a:gsLst>
                  <a:lin ang="5400000" scaled="0"/>
                </a:gradFill>
                <a:latin typeface="Segoe UI"/>
                <a:ea typeface="Segoe UI" pitchFamily="34" charset="0"/>
                <a:cs typeface="Segoe UI" pitchFamily="34" charset="0"/>
              </a:rPr>
              <a:t>Block Blobs: Sequential file I/O, Page Blobs: Random-write pattern data</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able Storage stores structured datasets. Table storage is a NoSQL key-attribute data store, which allows for rapid development and fast access to large quantities of data. </a:t>
            </a:r>
            <a:r>
              <a:rPr lang="en-US" sz="1200" dirty="0">
                <a:gradFill>
                  <a:gsLst>
                    <a:gs pos="0">
                      <a:srgbClr val="FFFFFF"/>
                    </a:gs>
                    <a:gs pos="100000">
                      <a:srgbClr val="FFFFFF"/>
                    </a:gs>
                  </a:gsLst>
                  <a:lin ang="5400000" scaled="0"/>
                </a:gradFill>
                <a:latin typeface="Segoe UI"/>
                <a:ea typeface="Segoe UI" pitchFamily="34" charset="0"/>
                <a:cs typeface="Segoe UI" pitchFamily="34" charset="0"/>
              </a:rPr>
              <a:t>Dynamic scaling based on load,</a:t>
            </a:r>
            <a:r>
              <a:rPr lang="en-US" sz="1200" baseline="0" dirty="0">
                <a:gradFill>
                  <a:gsLst>
                    <a:gs pos="0">
                      <a:srgbClr val="FFFFFF"/>
                    </a:gs>
                    <a:gs pos="100000">
                      <a:srgbClr val="FFFFFF"/>
                    </a:gs>
                  </a:gsLst>
                  <a:lin ang="5400000" scaled="0"/>
                </a:gradFill>
                <a:latin typeface="Segoe UI"/>
                <a:ea typeface="Segoe UI" pitchFamily="34" charset="0"/>
                <a:cs typeface="Segoe UI" pitchFamily="34" charset="0"/>
              </a:rPr>
              <a:t> Stores PB of table data</a:t>
            </a:r>
            <a:endParaRPr lang="en-US" dirty="0"/>
          </a:p>
          <a:p>
            <a:r>
              <a:rPr lang="en-US" dirty="0"/>
              <a:t>Queue Storage provides reliable messaging for workflow processing and for communication between components of cloud services.</a:t>
            </a:r>
          </a:p>
          <a:p>
            <a:pPr defTabSz="856869" fontAlgn="base">
              <a:spcBef>
                <a:spcPct val="0"/>
              </a:spcBef>
              <a:spcAft>
                <a:spcPct val="0"/>
              </a:spcAft>
            </a:pPr>
            <a:r>
              <a:rPr lang="en-US" sz="1200" dirty="0">
                <a:solidFill>
                  <a:srgbClr val="FFFFFF"/>
                </a:solidFill>
                <a:latin typeface="Segoe UI"/>
                <a:ea typeface="Segoe UI" pitchFamily="34" charset="0"/>
                <a:cs typeface="Segoe UI" pitchFamily="34" charset="0"/>
              </a:rPr>
              <a:t>Decouple and scale components Message visibility timeout and update message to protect against unreliable dequeuer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ile Storage offers shared storage for legacy applications using the standard SMB protocol. Azure virtual machines and cloud services can share file data across application components via mounted shares, and on-premises applications can access file data in a share via the File service REST API. </a:t>
            </a:r>
            <a:r>
              <a:rPr lang="en-US" sz="1200" dirty="0">
                <a:gradFill>
                  <a:gsLst>
                    <a:gs pos="0">
                      <a:srgbClr val="FFFFFF"/>
                    </a:gs>
                    <a:gs pos="100000">
                      <a:srgbClr val="FFFFFF"/>
                    </a:gs>
                  </a:gsLst>
                  <a:lin ang="5400000" scaled="0"/>
                </a:gradFill>
                <a:latin typeface="Segoe UI"/>
                <a:ea typeface="Segoe UI" pitchFamily="34" charset="0"/>
                <a:cs typeface="Segoe UI" pitchFamily="34" charset="0"/>
              </a:rPr>
              <a:t>“Lift and shift” legacy apps</a:t>
            </a:r>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FD44857-BBF3-43F9-97EC-D5B2C6D75886}"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20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63132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14</a:t>
            </a:fld>
            <a:endParaRPr lang="en-US" dirty="0"/>
          </a:p>
        </p:txBody>
      </p:sp>
    </p:spTree>
    <p:extLst>
      <p:ext uri="{BB962C8B-B14F-4D97-AF65-F5344CB8AC3E}">
        <p14:creationId xmlns:p14="http://schemas.microsoft.com/office/powerpoint/2010/main" val="1879757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FD44857-BBF3-43F9-97EC-D5B2C6D75886}"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20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52483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90F7684-CECC-4566-98F8-54DC205EBE94}"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20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406394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19</a:t>
            </a:fld>
            <a:endParaRPr lang="en-US" dirty="0"/>
          </a:p>
        </p:txBody>
      </p:sp>
    </p:spTree>
    <p:extLst>
      <p:ext uri="{BB962C8B-B14F-4D97-AF65-F5344CB8AC3E}">
        <p14:creationId xmlns:p14="http://schemas.microsoft.com/office/powerpoint/2010/main" val="39030017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CFD207A-07DF-40AD-A916-9872E089CE7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509523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CFD207A-07DF-40AD-A916-9872E089CE7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8884805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CFD207A-07DF-40AD-A916-9872E089CE7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1275638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r>
              <a:rPr lang="en-US" dirty="0"/>
              <a:t>Where historical</a:t>
            </a:r>
            <a:r>
              <a:rPr lang="en-US" baseline="0" dirty="0"/>
              <a:t> </a:t>
            </a:r>
            <a:r>
              <a:rPr lang="en-US" dirty="0"/>
              <a:t>data is collected, entered to the system, processed and then results are produced in batches</a:t>
            </a:r>
          </a:p>
          <a:p>
            <a:r>
              <a:rPr lang="en-US" dirty="0"/>
              <a:t>Easy</a:t>
            </a:r>
            <a:r>
              <a:rPr lang="en-US" baseline="0" dirty="0"/>
              <a:t> to program as parallelization is not to be taken care in the program but using cluster of compute nodes</a:t>
            </a:r>
            <a:endParaRPr lang="en-US" dirty="0"/>
          </a:p>
          <a:p>
            <a:r>
              <a:rPr lang="en-US" dirty="0"/>
              <a:t>Batch jobs are configured to run without manual intervention, trained against entire dataset at scale in order to produce output in the form of computational analyses and data files. Depending on the size of the data being processed and the computational power of the system, output can be delayed significantly.</a:t>
            </a:r>
            <a:endParaRPr lang="en-CA" b="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3F0F35F-DD44-4607-AEC1-49D7A4BC406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06733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GB" dirty="0">
              <a:solidFill>
                <a:schemeClr val="tx2"/>
              </a:solidFill>
              <a:latin typeface="Segoe" pitchFamily="34" charset="0"/>
            </a:endParaRPr>
          </a:p>
        </p:txBody>
      </p:sp>
      <p:sp>
        <p:nvSpPr>
          <p:cNvPr id="4" name="Slide Number Placeholder 3"/>
          <p:cNvSpPr>
            <a:spLocks noGrp="1"/>
          </p:cNvSpPr>
          <p:nvPr>
            <p:ph type="sldNum" sz="quarter" idx="10"/>
          </p:nvPr>
        </p:nvSpPr>
        <p:spPr/>
        <p:txBody>
          <a:bodyPr/>
          <a:lstStyle/>
          <a:p>
            <a:fld id="{13F0F35F-DD44-4607-AEC1-49D7A4BC4066}" type="slidenum">
              <a:rPr lang="en-US" smtClean="0"/>
              <a:pPr/>
              <a:t>23</a:t>
            </a:fld>
            <a:endParaRPr lang="en-US" dirty="0"/>
          </a:p>
        </p:txBody>
      </p:sp>
    </p:spTree>
    <p:extLst>
      <p:ext uri="{BB962C8B-B14F-4D97-AF65-F5344CB8AC3E}">
        <p14:creationId xmlns:p14="http://schemas.microsoft.com/office/powerpoint/2010/main" val="13814325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24</a:t>
            </a:fld>
            <a:endParaRPr lang="en-US"/>
          </a:p>
        </p:txBody>
      </p:sp>
    </p:spTree>
    <p:extLst>
      <p:ext uri="{BB962C8B-B14F-4D97-AF65-F5344CB8AC3E}">
        <p14:creationId xmlns:p14="http://schemas.microsoft.com/office/powerpoint/2010/main" val="28637163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25</a:t>
            </a:fld>
            <a:endParaRPr lang="en-US"/>
          </a:p>
        </p:txBody>
      </p:sp>
    </p:spTree>
    <p:extLst>
      <p:ext uri="{BB962C8B-B14F-4D97-AF65-F5344CB8AC3E}">
        <p14:creationId xmlns:p14="http://schemas.microsoft.com/office/powerpoint/2010/main" val="22847479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27</a:t>
            </a:fld>
            <a:endParaRPr lang="en-US"/>
          </a:p>
        </p:txBody>
      </p:sp>
    </p:spTree>
    <p:extLst>
      <p:ext uri="{BB962C8B-B14F-4D97-AF65-F5344CB8AC3E}">
        <p14:creationId xmlns:p14="http://schemas.microsoft.com/office/powerpoint/2010/main" val="32944268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28</a:t>
            </a:fld>
            <a:endParaRPr lang="en-US"/>
          </a:p>
        </p:txBody>
      </p:sp>
    </p:spTree>
    <p:extLst>
      <p:ext uri="{BB962C8B-B14F-4D97-AF65-F5344CB8AC3E}">
        <p14:creationId xmlns:p14="http://schemas.microsoft.com/office/powerpoint/2010/main" val="34460956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GB" dirty="0">
              <a:solidFill>
                <a:schemeClr val="tx2"/>
              </a:solidFill>
              <a:latin typeface="Segoe"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3F0F35F-DD44-4607-AEC1-49D7A4BC406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6562560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CFD207A-07DF-40AD-A916-9872E089CE7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93775079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y Benefits</a:t>
            </a:r>
          </a:p>
          <a:p>
            <a:pPr marL="336145" indent="-336145" defTabSz="914367">
              <a:spcBef>
                <a:spcPts val="1176"/>
              </a:spcBef>
              <a:defRPr/>
            </a:pPr>
            <a:r>
              <a:rPr lang="en-US" sz="1200" b="0" dirty="0">
                <a:solidFill>
                  <a:srgbClr val="505050"/>
                </a:solidFill>
              </a:rPr>
              <a:t>Extensible. Create custom functions to meet your particular processing requirements</a:t>
            </a:r>
          </a:p>
          <a:p>
            <a:pPr marL="336145" indent="-336145" defTabSz="914367">
              <a:spcBef>
                <a:spcPts val="1176"/>
              </a:spcBef>
              <a:defRPr/>
            </a:pPr>
            <a:r>
              <a:rPr lang="en-US" sz="1200" b="0" dirty="0">
                <a:solidFill>
                  <a:srgbClr val="505050"/>
                </a:solidFill>
              </a:rPr>
              <a:t>Easy to program. Simplify and encode complex tasks involving interrelated data transformations as data flow sequences—easily write and maintain huge tasks</a:t>
            </a:r>
          </a:p>
          <a:p>
            <a:pPr marL="336145" indent="-336145" defTabSz="914367">
              <a:spcBef>
                <a:spcPts val="1176"/>
              </a:spcBef>
              <a:defRPr/>
            </a:pPr>
            <a:r>
              <a:rPr lang="en-US" sz="1200" b="0" dirty="0">
                <a:solidFill>
                  <a:srgbClr val="505050"/>
                </a:solidFill>
              </a:rPr>
              <a:t>Self-optimizing. The system automatically optimizes execution of Pig jobs so you can focus on semantics</a:t>
            </a:r>
          </a:p>
          <a:p>
            <a:endParaRPr lang="en-US"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351F594-18EA-4B1A-814C-D8B72E2E4220}"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2017</a:t>
            </a:fld>
            <a:endParaRPr kumimoji="0" lang="en-US" sz="1800" b="0" i="0" u="none" strike="noStrike" kern="0" cap="none" spc="0" normalizeH="0" baseline="0" noProof="0" dirty="0">
              <a:ln>
                <a:noFill/>
              </a:ln>
              <a:solidFill>
                <a:prstClr val="black"/>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36785693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CFD207A-07DF-40AD-A916-9872E089CE7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4516851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CFD207A-07DF-40AD-A916-9872E089CE7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9179732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568" dirty="0">
                <a:gradFill>
                  <a:gsLst>
                    <a:gs pos="2920">
                      <a:schemeClr val="tx2"/>
                    </a:gs>
                    <a:gs pos="39000">
                      <a:schemeClr val="tx2"/>
                    </a:gs>
                  </a:gsLst>
                  <a:lin ang="5400000" scaled="0"/>
                </a:gradFill>
              </a:rPr>
              <a:t>Data services which allow you to manipulate and move data (Hive, </a:t>
            </a:r>
            <a:r>
              <a:rPr lang="en-US" sz="1568" dirty="0" err="1">
                <a:gradFill>
                  <a:gsLst>
                    <a:gs pos="2920">
                      <a:schemeClr val="tx2"/>
                    </a:gs>
                    <a:gs pos="39000">
                      <a:schemeClr val="tx2"/>
                    </a:gs>
                  </a:gsLst>
                  <a:lin ang="5400000" scaled="0"/>
                </a:gradFill>
              </a:rPr>
              <a:t>HBase</a:t>
            </a:r>
            <a:r>
              <a:rPr lang="en-US" sz="1568" dirty="0">
                <a:gradFill>
                  <a:gsLst>
                    <a:gs pos="2920">
                      <a:schemeClr val="tx2"/>
                    </a:gs>
                    <a:gs pos="39000">
                      <a:schemeClr val="tx2"/>
                    </a:gs>
                  </a:gsLst>
                  <a:lin ang="5400000" scaled="0"/>
                </a:gradFill>
              </a:rPr>
              <a:t>, Pig, Flume, </a:t>
            </a:r>
            <a:r>
              <a:rPr lang="en-US" sz="1568" dirty="0" err="1">
                <a:gradFill>
                  <a:gsLst>
                    <a:gs pos="2920">
                      <a:schemeClr val="tx2"/>
                    </a:gs>
                    <a:gs pos="39000">
                      <a:schemeClr val="tx2"/>
                    </a:gs>
                  </a:gsLst>
                  <a:lin ang="5400000" scaled="0"/>
                </a:gradFill>
              </a:rPr>
              <a:t>Sqoop</a:t>
            </a:r>
            <a:r>
              <a:rPr lang="en-US" sz="1568" dirty="0">
                <a:gradFill>
                  <a:gsLst>
                    <a:gs pos="2920">
                      <a:schemeClr val="tx2"/>
                    </a:gs>
                    <a:gs pos="39000">
                      <a:schemeClr val="tx2"/>
                    </a:gs>
                  </a:gsLst>
                  <a:lin ang="5400000" scaled="0"/>
                </a:gradFill>
              </a:rPr>
              <a:t>) </a:t>
            </a:r>
          </a:p>
          <a:p>
            <a:pPr lvl="0"/>
            <a:r>
              <a:rPr lang="en-US" sz="1568" dirty="0">
                <a:gradFill>
                  <a:gsLst>
                    <a:gs pos="2920">
                      <a:schemeClr val="tx2"/>
                    </a:gs>
                    <a:gs pos="39000">
                      <a:schemeClr val="tx2"/>
                    </a:gs>
                  </a:gsLst>
                  <a:lin ang="5400000" scaled="0"/>
                </a:gradFill>
              </a:rPr>
              <a:t>Operational services which help manage the cluster (</a:t>
            </a:r>
            <a:r>
              <a:rPr lang="en-US" sz="1568" dirty="0" err="1">
                <a:gradFill>
                  <a:gsLst>
                    <a:gs pos="2920">
                      <a:schemeClr val="tx2"/>
                    </a:gs>
                    <a:gs pos="39000">
                      <a:schemeClr val="tx2"/>
                    </a:gs>
                  </a:gsLst>
                  <a:lin ang="5400000" scaled="0"/>
                </a:gradFill>
              </a:rPr>
              <a:t>Ambari</a:t>
            </a:r>
            <a:r>
              <a:rPr lang="en-US" sz="1568" dirty="0">
                <a:gradFill>
                  <a:gsLst>
                    <a:gs pos="2920">
                      <a:schemeClr val="tx2"/>
                    </a:gs>
                    <a:gs pos="39000">
                      <a:schemeClr val="tx2"/>
                    </a:gs>
                  </a:gsLst>
                  <a:lin ang="5400000" scaled="0"/>
                </a:gradFill>
              </a:rPr>
              <a:t>, Falcon, and </a:t>
            </a:r>
            <a:r>
              <a:rPr lang="en-US" sz="1568" dirty="0" err="1">
                <a:gradFill>
                  <a:gsLst>
                    <a:gs pos="2920">
                      <a:schemeClr val="tx2"/>
                    </a:gs>
                    <a:gs pos="39000">
                      <a:schemeClr val="tx2"/>
                    </a:gs>
                  </a:gsLst>
                  <a:lin ang="5400000" scaled="0"/>
                </a:gradFill>
              </a:rPr>
              <a:t>Oozie</a:t>
            </a:r>
            <a:r>
              <a:rPr lang="en-US" sz="1568" dirty="0">
                <a:gradFill>
                  <a:gsLst>
                    <a:gs pos="2920">
                      <a:schemeClr val="tx2"/>
                    </a:gs>
                    <a:gs pos="39000">
                      <a:schemeClr val="tx2"/>
                    </a:gs>
                  </a:gsLst>
                  <a:lin ang="5400000" scaled="0"/>
                </a:gradFill>
              </a:rPr>
              <a:t>)</a:t>
            </a:r>
          </a:p>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3</a:t>
            </a:fld>
            <a:endParaRPr lang="en-US" dirty="0"/>
          </a:p>
        </p:txBody>
      </p:sp>
    </p:spTree>
    <p:extLst>
      <p:ext uri="{BB962C8B-B14F-4D97-AF65-F5344CB8AC3E}">
        <p14:creationId xmlns:p14="http://schemas.microsoft.com/office/powerpoint/2010/main" val="39339712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36</a:t>
            </a:fld>
            <a:endParaRPr lang="en-US" dirty="0"/>
          </a:p>
        </p:txBody>
      </p:sp>
    </p:spTree>
    <p:extLst>
      <p:ext uri="{BB962C8B-B14F-4D97-AF65-F5344CB8AC3E}">
        <p14:creationId xmlns:p14="http://schemas.microsoft.com/office/powerpoint/2010/main" val="172905122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38</a:t>
            </a:fld>
            <a:endParaRPr lang="en-US" dirty="0"/>
          </a:p>
        </p:txBody>
      </p:sp>
    </p:spTree>
    <p:extLst>
      <p:ext uri="{BB962C8B-B14F-4D97-AF65-F5344CB8AC3E}">
        <p14:creationId xmlns:p14="http://schemas.microsoft.com/office/powerpoint/2010/main" val="325111720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09306" lvl="1" indent="0">
              <a:buNone/>
            </a:pPr>
            <a:endParaRPr lang="en-US"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690FEDC-C7B0-437E-8E9B-6BFD923A5324}"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20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15350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40</a:t>
            </a:fld>
            <a:endParaRPr lang="en-US" dirty="0"/>
          </a:p>
        </p:txBody>
      </p:sp>
    </p:spTree>
    <p:extLst>
      <p:ext uri="{BB962C8B-B14F-4D97-AF65-F5344CB8AC3E}">
        <p14:creationId xmlns:p14="http://schemas.microsoft.com/office/powerpoint/2010/main" val="266868008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41</a:t>
            </a:fld>
            <a:endParaRPr lang="en-US" dirty="0"/>
          </a:p>
        </p:txBody>
      </p:sp>
    </p:spTree>
    <p:extLst>
      <p:ext uri="{BB962C8B-B14F-4D97-AF65-F5344CB8AC3E}">
        <p14:creationId xmlns:p14="http://schemas.microsoft.com/office/powerpoint/2010/main" val="122461827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42</a:t>
            </a:fld>
            <a:endParaRPr lang="en-US" dirty="0"/>
          </a:p>
        </p:txBody>
      </p:sp>
    </p:spTree>
    <p:extLst>
      <p:ext uri="{BB962C8B-B14F-4D97-AF65-F5344CB8AC3E}">
        <p14:creationId xmlns:p14="http://schemas.microsoft.com/office/powerpoint/2010/main" val="328792082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505050"/>
                </a:solidFill>
                <a:effectLst/>
                <a:uLnTx/>
                <a:uFillTx/>
                <a:latin typeface="Segoe UI Semibold" panose="020B0702040204020203" pitchFamily="34" charset="0"/>
                <a:ea typeface="ＭＳ Ｐゴシック" charset="0"/>
                <a:cs typeface="Segoe UI Semibold" panose="020B0702040204020203" pitchFamily="34" charset="0"/>
              </a:rPr>
              <a:t>Instead of CSV format, using Optimized Row Columnar (ORC) format improves performance of reading, writing and running Hive queri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505050"/>
                </a:solidFill>
                <a:ea typeface="ＭＳ Ｐゴシック" charset="0"/>
                <a:cs typeface="ＭＳ Ｐゴシック" charset="0"/>
              </a:rPr>
              <a:t>Efficiently stores metadata like Max, Min, Count for each column to get quick response for common operato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505050"/>
                </a:solidFill>
                <a:ea typeface="ＭＳ Ｐゴシック" charset="0"/>
                <a:cs typeface="ＭＳ Ｐゴシック" charset="0"/>
              </a:rPr>
              <a:t>Provides inexpensive compression enabling more efficient use of system resourc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505050"/>
                </a:solidFill>
                <a:ea typeface="ＭＳ Ｐゴシック" charset="0"/>
                <a:cs typeface="ＭＳ Ｐゴシック" charset="0"/>
              </a:rPr>
              <a:t>Vectoriz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505050"/>
                </a:solidFill>
                <a:ea typeface="ＭＳ Ｐゴシック" charset="0"/>
                <a:cs typeface="ＭＳ Ｐゴシック" charset="0"/>
              </a:rPr>
              <a:t>Allows HIVE to process a batch up to 1,024 rows together, instead of processing one row at a time. Each batch is a column vecto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505050"/>
                </a:solidFill>
                <a:ea typeface="ＭＳ Ｐゴシック" charset="0"/>
                <a:cs typeface="ＭＳ Ｐゴシック" charset="0"/>
              </a:rPr>
              <a:t>Parque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505050"/>
                </a:solidFill>
                <a:ea typeface="ＭＳ Ｐゴシック" charset="0"/>
                <a:cs typeface="ＭＳ Ｐゴシック" charset="0"/>
              </a:rPr>
              <a:t>Compressed, efficient columnar data represent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rPr>
              <a:t>Parquet2.0 is much more efficient than Text,</a:t>
            </a:r>
            <a:r>
              <a:rPr lang="en-US" sz="1200" baseline="0" dirty="0">
                <a:latin typeface="+mn-lt"/>
              </a:rPr>
              <a:t> Sequence, RC file form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arquet is built from the ground up with complex nested data structures in mind, and uses the </a:t>
            </a:r>
            <a:r>
              <a:rPr lang="en-US" dirty="0">
                <a:hlinkClick r:id="rId3"/>
              </a:rPr>
              <a:t>record shredding and assembly algorithm</a:t>
            </a:r>
            <a:r>
              <a:rPr lang="en-US" dirty="0"/>
              <a:t> described in the </a:t>
            </a:r>
            <a:r>
              <a:rPr lang="en-US" dirty="0" err="1"/>
              <a:t>Dremel</a:t>
            </a:r>
            <a:r>
              <a:rPr lang="en-US" dirty="0"/>
              <a:t> paper. We believe this approach is superior to simple flattening of nested name spaces.</a:t>
            </a:r>
          </a:p>
          <a:p>
            <a:r>
              <a:rPr lang="en-US" b="1" dirty="0"/>
              <a:t>Unit of parallelization</a:t>
            </a:r>
          </a:p>
          <a:p>
            <a:r>
              <a:rPr lang="en-US" dirty="0"/>
              <a:t>MapReduce - File/Row Group</a:t>
            </a:r>
          </a:p>
          <a:p>
            <a:r>
              <a:rPr lang="en-US" dirty="0"/>
              <a:t>IO - Column chunk</a:t>
            </a:r>
          </a:p>
          <a:p>
            <a:r>
              <a:rPr lang="en-US" dirty="0"/>
              <a:t>Encoding/Compression - Pag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mn-lt"/>
            </a:endParaRPr>
          </a:p>
          <a:p>
            <a:r>
              <a:rPr lang="en-US" dirty="0"/>
              <a:t>Row group: A logical horizontal partitioning of the data into rows. There is no physical structure that is guaranteed for a row group. A row group consists of a column chunk for each column in the dataset.</a:t>
            </a:r>
          </a:p>
          <a:p>
            <a:r>
              <a:rPr lang="en-US" dirty="0"/>
              <a:t>Column chunk: A chunk of the data for a particular column. These live in a particular row group and is guaranteed to be contiguous in the file.</a:t>
            </a:r>
          </a:p>
          <a:p>
            <a:r>
              <a:rPr lang="en-US" dirty="0"/>
              <a:t>Page: Column chunks are divided up into pages. A page is conceptually an indivisible unit (in terms of compression and encoding). There can be multiple page types which is interleaved in a column chun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rPr>
              <a:t>https://parquet.apache.org/documentation/lates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05050"/>
              </a:solidFill>
              <a:effectLst/>
              <a:uLnTx/>
              <a:uFillTx/>
              <a:latin typeface="Segoe UI Semibold" panose="020B0702040204020203" pitchFamily="34" charset="0"/>
              <a:ea typeface="ＭＳ Ｐゴシック" charset="0"/>
              <a:cs typeface="Segoe UI Semibold" panose="020B0702040204020203" pitchFamily="34" charset="0"/>
            </a:endParaRPr>
          </a:p>
          <a:p>
            <a:endParaRPr lang="en-US" dirty="0"/>
          </a:p>
        </p:txBody>
      </p:sp>
      <p:sp>
        <p:nvSpPr>
          <p:cNvPr id="4" name="Footer Placeholder 3"/>
          <p:cNvSpPr>
            <a:spLocks noGrp="1"/>
          </p:cNvSpPr>
          <p:nvPr>
            <p:ph type="ftr" sz="quarter" idx="10"/>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90F7684-CECC-4566-98F8-54DC205EBE94}"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2017</a:t>
            </a:fld>
            <a:endParaRPr kumimoji="0" lang="en-US" sz="1800" b="0" i="0" u="none" strike="noStrike" kern="0" cap="none" spc="0" normalizeH="0" baseline="0" noProof="0" dirty="0">
              <a:ln>
                <a:noFill/>
              </a:ln>
              <a:solidFill>
                <a:prstClr val="black"/>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92876035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 </a:t>
            </a:r>
            <a:r>
              <a:rPr lang="en-US" dirty="0" err="1"/>
              <a:t>HCatalog</a:t>
            </a:r>
            <a:r>
              <a:rPr lang="en-US" dirty="0"/>
              <a:t>, you can read and write files in any format for which a Hive </a:t>
            </a:r>
            <a:r>
              <a:rPr lang="en-US" dirty="0" err="1"/>
              <a:t>SerDe</a:t>
            </a:r>
            <a:r>
              <a:rPr lang="en-US" dirty="0"/>
              <a:t> (</a:t>
            </a:r>
            <a:r>
              <a:rPr lang="en-US" dirty="0" err="1"/>
              <a:t>serializer-deserializer</a:t>
            </a:r>
            <a:r>
              <a:rPr lang="en-US" dirty="0"/>
              <a:t>) can be written.</a:t>
            </a:r>
          </a:p>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44</a:t>
            </a:fld>
            <a:endParaRPr lang="en-US"/>
          </a:p>
        </p:txBody>
      </p:sp>
    </p:spTree>
    <p:extLst>
      <p:ext uri="{BB962C8B-B14F-4D97-AF65-F5344CB8AC3E}">
        <p14:creationId xmlns:p14="http://schemas.microsoft.com/office/powerpoint/2010/main" val="254756492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ct val="0"/>
              </a:spcBef>
              <a:spcAft>
                <a:spcPts val="0"/>
              </a:spcAft>
              <a:buClrTx/>
              <a:buSzTx/>
              <a:buFontTx/>
              <a:buNone/>
              <a:tabLst/>
              <a:defRPr/>
            </a:pPr>
            <a:r>
              <a:rPr lang="en-US" sz="1200" b="1" dirty="0"/>
              <a:t>Presenter</a:t>
            </a:r>
            <a:r>
              <a:rPr lang="en-US" sz="1200" b="1" baseline="0" dirty="0"/>
              <a:t> guidance:</a:t>
            </a:r>
          </a:p>
          <a:p>
            <a:pPr marL="0" marR="0" indent="0" algn="l" defTabSz="914400" rtl="0" eaLnBrk="1" fontAlgn="auto" latinLnBrk="0" hangingPunct="1">
              <a:lnSpc>
                <a:spcPct val="100000"/>
              </a:lnSpc>
              <a:spcBef>
                <a:spcPct val="0"/>
              </a:spcBef>
              <a:spcAft>
                <a:spcPts val="0"/>
              </a:spcAft>
              <a:buClrTx/>
              <a:buSzTx/>
              <a:buFontTx/>
              <a:buNone/>
              <a:tabLst/>
              <a:defRPr/>
            </a:pPr>
            <a:r>
              <a:rPr lang="en-US" sz="1200" dirty="0"/>
              <a:t>What is not shown here is Azure SQL DW – Elastic</a:t>
            </a:r>
            <a:r>
              <a:rPr lang="en-US" sz="1200" baseline="0" dirty="0"/>
              <a:t> DW as a Service</a:t>
            </a:r>
          </a:p>
          <a:p>
            <a:pPr marL="0" marR="0" indent="0" algn="l" defTabSz="914400" rtl="0" eaLnBrk="1" fontAlgn="auto" latinLnBrk="0" hangingPunct="1">
              <a:lnSpc>
                <a:spcPct val="100000"/>
              </a:lnSpc>
              <a:spcBef>
                <a:spcPct val="0"/>
              </a:spcBef>
              <a:spcAft>
                <a:spcPts val="0"/>
              </a:spcAft>
              <a:buClrTx/>
              <a:buSzTx/>
              <a:buFontTx/>
              <a:buNone/>
              <a:tabLst/>
              <a:defRPr/>
            </a:pPr>
            <a:r>
              <a:rPr lang="en-US" sz="1200" baseline="0" dirty="0"/>
              <a:t>We can further classify storage for VMs, structured, unstructured data</a:t>
            </a:r>
            <a:endParaRPr lang="en-US" sz="1200" b="1" baseline="0" dirty="0"/>
          </a:p>
          <a:p>
            <a:pPr marL="0" marR="0" indent="0" algn="l" defTabSz="914400" rtl="0" eaLnBrk="1" fontAlgn="auto" latinLnBrk="0" hangingPunct="1">
              <a:lnSpc>
                <a:spcPct val="100000"/>
              </a:lnSpc>
              <a:spcBef>
                <a:spcPct val="0"/>
              </a:spcBef>
              <a:spcAft>
                <a:spcPts val="0"/>
              </a:spcAft>
              <a:buClrTx/>
              <a:buSzTx/>
              <a:buFontTx/>
              <a:buNone/>
              <a:tabLst/>
              <a:defRPr/>
            </a:pPr>
            <a:r>
              <a:rPr lang="en-US" sz="1200" dirty="0"/>
              <a:t>Microsoft is not just about relational. We have powerful</a:t>
            </a:r>
            <a:r>
              <a:rPr lang="en-US" sz="1200" baseline="0" dirty="0"/>
              <a:t> NoSQL options as well. Without going deep on NoSQL and the different flavor of it, there are 4 major categories – key-value (Tables), document (DocumentDB), column (HBase), and graph. There’s a great David Chappell paper for getting up to speed on NoSQL - http://azure.microsoft.com/en-us/documentation/articles/fundamentals-data-management-nosql-chappell/ </a:t>
            </a:r>
          </a:p>
          <a:p>
            <a:pPr marL="0" marR="0" indent="0" algn="l" defTabSz="914400" rtl="0" eaLnBrk="1" fontAlgn="auto" latinLnBrk="0" hangingPunct="1">
              <a:lnSpc>
                <a:spcPct val="100000"/>
              </a:lnSpc>
              <a:spcBef>
                <a:spcPct val="0"/>
              </a:spcBef>
              <a:spcAft>
                <a:spcPts val="0"/>
              </a:spcAft>
              <a:buClrTx/>
              <a:buSzTx/>
              <a:buFontTx/>
              <a:buNone/>
              <a:tabLst/>
              <a:defRPr/>
            </a:pPr>
            <a:endParaRPr lang="en-US" sz="1200" b="1" dirty="0"/>
          </a:p>
          <a:p>
            <a:pPr eaLnBrk="1" hangingPunct="1">
              <a:spcBef>
                <a:spcPct val="0"/>
              </a:spcBef>
            </a:pPr>
            <a:r>
              <a:rPr lang="en-US" sz="1200" b="1" dirty="0"/>
              <a:t>Slide talk track:</a:t>
            </a:r>
          </a:p>
          <a:p>
            <a:pPr marL="171450" indent="-171450">
              <a:lnSpc>
                <a:spcPct val="125000"/>
              </a:lnSpc>
              <a:spcBef>
                <a:spcPts val="0"/>
              </a:spcBef>
              <a:buFont typeface="Arial" panose="020B0604020202020204" pitchFamily="34" charset="0"/>
              <a:buChar char="•"/>
            </a:pPr>
            <a:r>
              <a:rPr lang="en-US" sz="1200" dirty="0">
                <a:solidFill>
                  <a:srgbClr val="0071BC"/>
                </a:solidFill>
              </a:rPr>
              <a:t>NoSQL’s popularity</a:t>
            </a:r>
            <a:r>
              <a:rPr lang="en-US" sz="1200" baseline="0" dirty="0">
                <a:solidFill>
                  <a:srgbClr val="0071BC"/>
                </a:solidFill>
              </a:rPr>
              <a:t> originally started because of limitations of relational stores. Many of these limitations have since been addressed, but there are still a lot of compelling reasons to choose a NoSQL store.</a:t>
            </a:r>
          </a:p>
          <a:p>
            <a:pPr marL="171450" indent="-171450">
              <a:lnSpc>
                <a:spcPct val="125000"/>
              </a:lnSpc>
              <a:spcBef>
                <a:spcPts val="0"/>
              </a:spcBef>
              <a:buFont typeface="Arial" panose="020B0604020202020204" pitchFamily="34" charset="0"/>
              <a:buChar char="•"/>
            </a:pPr>
            <a:r>
              <a:rPr lang="en-US" sz="1200" baseline="0" dirty="0">
                <a:solidFill>
                  <a:srgbClr val="0071BC"/>
                </a:solidFill>
              </a:rPr>
              <a:t>In the case of DocumentDB, we saw an unaddressed gap in the market place for </a:t>
            </a:r>
          </a:p>
          <a:p>
            <a:pPr marL="628650" lvl="1" indent="-171450">
              <a:lnSpc>
                <a:spcPct val="125000"/>
              </a:lnSpc>
              <a:spcBef>
                <a:spcPts val="0"/>
              </a:spcBef>
              <a:buFont typeface="Arial" panose="020B0604020202020204" pitchFamily="34" charset="0"/>
              <a:buChar char="•"/>
            </a:pPr>
            <a:r>
              <a:rPr lang="en-US" sz="1200" dirty="0">
                <a:solidFill>
                  <a:srgbClr val="0071BC"/>
                </a:solidFill>
              </a:rPr>
              <a:t>Apps produce and consume data at a staggering rate while requiring instantaneous response times to match user expectations</a:t>
            </a:r>
          </a:p>
          <a:p>
            <a:pPr marL="628650" lvl="1" indent="-171450">
              <a:lnSpc>
                <a:spcPct val="125000"/>
              </a:lnSpc>
              <a:spcBef>
                <a:spcPts val="0"/>
              </a:spcBef>
              <a:buFont typeface="Arial" panose="020B0604020202020204" pitchFamily="34" charset="0"/>
              <a:buChar char="•"/>
            </a:pPr>
            <a:r>
              <a:rPr lang="en-US" sz="1200" dirty="0">
                <a:solidFill>
                  <a:srgbClr val="0071BC"/>
                </a:solidFill>
              </a:rPr>
              <a:t>Developed iteratively with many versions supported concurrently and continuously evolving data models</a:t>
            </a:r>
          </a:p>
          <a:p>
            <a:pPr marL="628650" lvl="1" indent="-171450">
              <a:lnSpc>
                <a:spcPct val="125000"/>
              </a:lnSpc>
              <a:spcBef>
                <a:spcPts val="0"/>
              </a:spcBef>
              <a:buFont typeface="Arial" panose="020B0604020202020204" pitchFamily="34" charset="0"/>
              <a:buChar char="•"/>
            </a:pPr>
            <a:r>
              <a:rPr lang="en-US" sz="1200" dirty="0">
                <a:solidFill>
                  <a:srgbClr val="0071BC"/>
                </a:solidFill>
              </a:rPr>
              <a:t>Increasingly complex, compensating for the lack of query and transactional processing in existing NoSQL database systems</a:t>
            </a:r>
          </a:p>
          <a:p>
            <a:pPr marL="628650" lvl="1" indent="-171450">
              <a:lnSpc>
                <a:spcPct val="125000"/>
              </a:lnSpc>
              <a:spcBef>
                <a:spcPts val="0"/>
              </a:spcBef>
              <a:buFont typeface="Arial" panose="020B0604020202020204" pitchFamily="34" charset="0"/>
              <a:buChar char="•"/>
            </a:pPr>
            <a:r>
              <a:rPr lang="en-US" sz="1200" dirty="0">
                <a:solidFill>
                  <a:srgbClr val="0071BC"/>
                </a:solidFill>
              </a:rPr>
              <a:t>Experience unpredictable and explosive growth</a:t>
            </a:r>
          </a:p>
          <a:p>
            <a:pPr marL="171450" lvl="0" indent="-171450">
              <a:lnSpc>
                <a:spcPct val="125000"/>
              </a:lnSpc>
              <a:spcBef>
                <a:spcPts val="0"/>
              </a:spcBef>
              <a:buFont typeface="Arial" panose="020B0604020202020204" pitchFamily="34" charset="0"/>
              <a:buChar char="•"/>
            </a:pPr>
            <a:r>
              <a:rPr lang="en-US" sz="1200" kern="1200" dirty="0">
                <a:solidFill>
                  <a:schemeClr val="tx1"/>
                </a:solidFill>
                <a:effectLst/>
                <a:latin typeface="+mn-lt"/>
                <a:ea typeface="+mn-ea"/>
                <a:cs typeface="+mn-cs"/>
              </a:rPr>
              <a:t>We heard from internal and external customers that they didn’t want to run and manage NoSQL document stores especially at massive scale. Customers also told us they needed more of the query and transaction processing capabilities that are inherent to relational systems. So we considered what it would take to build a schema-free database with robust query and transaction processing using modern data formats, languages and protocols – the result of this effort is DocumentDB</a:t>
            </a:r>
            <a:endParaRPr lang="en-US" baseline="0" dirty="0"/>
          </a:p>
          <a:p>
            <a:endParaRPr lang="en-US" dirty="0"/>
          </a:p>
          <a:p>
            <a:r>
              <a:rPr lang="en-US" b="1" baseline="0" dirty="0"/>
              <a:t>Key-Value</a:t>
            </a:r>
          </a:p>
          <a:p>
            <a:pPr>
              <a:lnSpc>
                <a:spcPct val="90000"/>
              </a:lnSpc>
            </a:pPr>
            <a:r>
              <a:rPr lang="en-US" sz="1200" dirty="0">
                <a:solidFill>
                  <a:srgbClr val="494949"/>
                </a:solidFill>
              </a:rPr>
              <a:t>Very high speed</a:t>
            </a:r>
          </a:p>
          <a:p>
            <a:pPr>
              <a:lnSpc>
                <a:spcPct val="90000"/>
              </a:lnSpc>
            </a:pPr>
            <a:r>
              <a:rPr lang="en-US" sz="1200" dirty="0">
                <a:solidFill>
                  <a:srgbClr val="494949"/>
                </a:solidFill>
              </a:rPr>
              <a:t>Least complicated data model—anything can be stored as a value, as long as each value is associated with a key or name.</a:t>
            </a:r>
          </a:p>
          <a:p>
            <a:pPr>
              <a:lnSpc>
                <a:spcPct val="90000"/>
              </a:lnSpc>
            </a:pPr>
            <a:endParaRPr lang="en-US" sz="1200" baseline="0" dirty="0">
              <a:solidFill>
                <a:srgbClr val="494949"/>
              </a:solidFill>
            </a:endParaRPr>
          </a:p>
          <a:p>
            <a:pPr>
              <a:lnSpc>
                <a:spcPct val="90000"/>
              </a:lnSpc>
            </a:pPr>
            <a:r>
              <a:rPr lang="en-US" sz="1200" b="1" baseline="0" dirty="0">
                <a:solidFill>
                  <a:srgbClr val="494949"/>
                </a:solidFill>
              </a:rPr>
              <a:t>Wide Column</a:t>
            </a:r>
          </a:p>
          <a:p>
            <a:pPr>
              <a:lnSpc>
                <a:spcPct val="90000"/>
              </a:lnSpc>
            </a:pPr>
            <a:r>
              <a:rPr lang="en-US" sz="1200" dirty="0">
                <a:solidFill>
                  <a:srgbClr val="494949"/>
                </a:solidFill>
              </a:rPr>
              <a:t>Fast </a:t>
            </a:r>
          </a:p>
          <a:p>
            <a:pPr>
              <a:lnSpc>
                <a:spcPct val="90000"/>
              </a:lnSpc>
            </a:pPr>
            <a:r>
              <a:rPr lang="en-US" sz="1200" dirty="0">
                <a:solidFill>
                  <a:srgbClr val="494949"/>
                </a:solidFill>
              </a:rPr>
              <a:t>Almost as simple as key-value stores </a:t>
            </a:r>
          </a:p>
          <a:p>
            <a:pPr>
              <a:lnSpc>
                <a:spcPct val="90000"/>
              </a:lnSpc>
            </a:pPr>
            <a:r>
              <a:rPr lang="en-US" sz="1200" dirty="0">
                <a:solidFill>
                  <a:srgbClr val="494949"/>
                </a:solidFill>
              </a:rPr>
              <a:t>Include a primary key, an optional secondary key, and anything stored as a value.</a:t>
            </a:r>
          </a:p>
          <a:p>
            <a:pPr>
              <a:lnSpc>
                <a:spcPct val="90000"/>
              </a:lnSpc>
            </a:pPr>
            <a:endParaRPr lang="en-US" baseline="0" dirty="0"/>
          </a:p>
          <a:p>
            <a:pPr>
              <a:lnSpc>
                <a:spcPct val="90000"/>
              </a:lnSpc>
            </a:pPr>
            <a:r>
              <a:rPr lang="en-US" b="1" baseline="0" dirty="0"/>
              <a:t>Document</a:t>
            </a:r>
          </a:p>
          <a:p>
            <a:pPr marL="0" marR="0" indent="0" algn="l" defTabSz="914400" rtl="0" eaLnBrk="1" fontAlgn="auto" latinLnBrk="0" hangingPunct="1">
              <a:lnSpc>
                <a:spcPct val="90000"/>
              </a:lnSpc>
              <a:spcBef>
                <a:spcPts val="0"/>
              </a:spcBef>
              <a:spcAft>
                <a:spcPts val="0"/>
              </a:spcAft>
              <a:buClrTx/>
              <a:buSzTx/>
              <a:buFontTx/>
              <a:buNone/>
              <a:tabLst/>
              <a:defRPr/>
            </a:pPr>
            <a:r>
              <a:rPr lang="en-US" dirty="0">
                <a:solidFill>
                  <a:srgbClr val="494949"/>
                </a:solidFill>
              </a:rPr>
              <a:t>Contains data objects that are inherently hierarchical, tree-like structures (most notably JSON or XML)</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43DDAC6-747A-4F9E-82DD-C589F449FBBC}"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64026771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RS protects your data from normal hardware failures, but not from the failure of a single facility. </a:t>
            </a:r>
          </a:p>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ZRS</a:t>
            </a:r>
            <a:r>
              <a:rPr lang="en-IN" baseline="0" dirty="0"/>
              <a:t> </a:t>
            </a:r>
            <a:r>
              <a:rPr lang="en-US" dirty="0"/>
              <a:t>provides higher durability than LRS. ZRS ensures that your data is durable within a single region. </a:t>
            </a:r>
          </a:p>
          <a:p>
            <a:r>
              <a:rPr lang="en-IN" dirty="0"/>
              <a:t>GRS </a:t>
            </a:r>
            <a:r>
              <a:rPr lang="en-US" dirty="0"/>
              <a:t>provides the highest level of durability</a:t>
            </a:r>
          </a:p>
          <a:p>
            <a:r>
              <a:rPr lang="en-US" dirty="0"/>
              <a:t>RA-GRS Read access geo-redundant storage is enabled for your storage account by default when you create it., and also provides read access to your data in the secondary location.</a:t>
            </a:r>
            <a:br>
              <a:rPr lang="en-US" dirty="0"/>
            </a:br>
            <a:endParaRPr lang="en-IN"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FD44857-BBF3-43F9-97EC-D5B2C6D75886}"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20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547548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 Azure HDInsight</a:t>
            </a:r>
          </a:p>
          <a:p>
            <a:pPr lvl="1"/>
            <a:r>
              <a:rPr lang="en-US" dirty="0"/>
              <a:t>Cloud-based implementation of Hadoop</a:t>
            </a:r>
          </a:p>
          <a:p>
            <a:pPr lvl="1"/>
            <a:r>
              <a:rPr lang="en-US" dirty="0"/>
              <a:t>Available as a Microsoft Azure service</a:t>
            </a:r>
          </a:p>
          <a:p>
            <a:r>
              <a:rPr lang="en-US" dirty="0"/>
              <a:t>SQL Server Parallel Data Warehouse</a:t>
            </a:r>
          </a:p>
          <a:p>
            <a:pPr lvl="1"/>
            <a:r>
              <a:rPr lang="en-US" dirty="0"/>
              <a:t>Enterprise data warehouse appliance</a:t>
            </a:r>
          </a:p>
          <a:p>
            <a:pPr lvl="1"/>
            <a:r>
              <a:rPr lang="en-US" dirty="0"/>
              <a:t>Massively Parallel Processing (MPP), shared-nothing architecture</a:t>
            </a:r>
          </a:p>
          <a:p>
            <a:r>
              <a:rPr lang="en-US" dirty="0" err="1"/>
              <a:t>PolyBase</a:t>
            </a:r>
            <a:endParaRPr lang="en-US" dirty="0"/>
          </a:p>
          <a:p>
            <a:pPr lvl="1"/>
            <a:r>
              <a:rPr lang="en-US" dirty="0"/>
              <a:t>Integration technology for SQL Server Parallel Data Warehouse and HDInsight</a:t>
            </a:r>
          </a:p>
          <a:p>
            <a:pPr lvl="1"/>
            <a:endParaRPr lang="en-US" dirty="0"/>
          </a:p>
          <a:p>
            <a:pPr lvl="0"/>
            <a:r>
              <a:rPr lang="en-US" dirty="0"/>
              <a:t>Azure</a:t>
            </a:r>
            <a:r>
              <a:rPr lang="en-US" baseline="0" dirty="0"/>
              <a:t> Batch </a:t>
            </a:r>
          </a:p>
          <a:p>
            <a:pPr lvl="1"/>
            <a:r>
              <a:rPr lang="en-US" dirty="0"/>
              <a:t>supports batch processing very nicely with the existing components in the Toolbox.  A simple approach to implementing batch processing in SSIS is to come up with a way to group the rows to be processed into batches, process each batch, then update each group as processed.  Let's begin by describing a scenario then implement an </a:t>
            </a:r>
            <a:endParaRPr lang="en-US" baseline="0" dirty="0"/>
          </a:p>
          <a:p>
            <a:pPr lvl="0"/>
            <a:r>
              <a:rPr lang="en-US" dirty="0"/>
              <a:t>SSIS </a:t>
            </a:r>
          </a:p>
          <a:p>
            <a:pPr lvl="1"/>
            <a:r>
              <a:rPr lang="en-US" dirty="0"/>
              <a:t>A simple approach to implementing batch processing in SSIS is to come up with a way to group the rows to be processed into batches, process each batch, then update each group as processed. </a:t>
            </a:r>
          </a:p>
          <a:p>
            <a:pPr lvl="1"/>
            <a:r>
              <a:rPr lang="en-US" dirty="0"/>
              <a:t>A common requirement in developing reporting applications is to aggregate data allowing report queries to run very quickly</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CFD207A-07DF-40AD-A916-9872E089CE7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0239109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CFD207A-07DF-40AD-A916-9872E089CE7A}"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8534577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7</a:t>
            </a:fld>
            <a:endParaRPr lang="en-US" dirty="0"/>
          </a:p>
        </p:txBody>
      </p:sp>
    </p:spTree>
    <p:extLst>
      <p:ext uri="{BB962C8B-B14F-4D97-AF65-F5344CB8AC3E}">
        <p14:creationId xmlns:p14="http://schemas.microsoft.com/office/powerpoint/2010/main" val="11073691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I-based Tools</a:t>
            </a:r>
          </a:p>
          <a:p>
            <a:r>
              <a:rPr lang="en-US" dirty="0"/>
              <a:t>Cloudberry Explorer, Storage Explorer</a:t>
            </a:r>
          </a:p>
          <a:p>
            <a:r>
              <a:rPr lang="en-US" dirty="0"/>
              <a:t>Code Supplier tool</a:t>
            </a:r>
          </a:p>
          <a:p>
            <a:r>
              <a:rPr lang="en-US" dirty="0" err="1"/>
              <a:t>Gzip</a:t>
            </a:r>
            <a:r>
              <a:rPr lang="en-US" dirty="0"/>
              <a:t> and BZip2</a:t>
            </a:r>
          </a:p>
          <a:p>
            <a:r>
              <a:rPr lang="en-US" dirty="0" err="1"/>
              <a:t>Powershell</a:t>
            </a:r>
            <a:r>
              <a:rPr lang="en-US" dirty="0"/>
              <a:t> Commands</a:t>
            </a:r>
          </a:p>
          <a:p>
            <a:r>
              <a:rPr lang="en-US" dirty="0"/>
              <a:t>Take Advantage of </a:t>
            </a:r>
            <a:r>
              <a:rPr lang="en-US" dirty="0" err="1"/>
              <a:t>Powershell</a:t>
            </a:r>
            <a:r>
              <a:rPr lang="en-US" dirty="0"/>
              <a:t> cmdlets</a:t>
            </a:r>
          </a:p>
          <a:p>
            <a:r>
              <a:rPr lang="en-US" dirty="0"/>
              <a:t>The Hadoop </a:t>
            </a:r>
            <a:r>
              <a:rPr lang="en-US" dirty="0" err="1"/>
              <a:t>dfs</a:t>
            </a:r>
            <a:endParaRPr lang="en-US" dirty="0"/>
          </a:p>
          <a:p>
            <a:r>
              <a:rPr lang="en-US" dirty="0" err="1"/>
              <a:t>copyFromLocal</a:t>
            </a:r>
            <a:r>
              <a:rPr lang="en-US" dirty="0"/>
              <a:t> [source] [destination] command</a:t>
            </a:r>
          </a:p>
          <a:p>
            <a:r>
              <a:rPr lang="en-US" dirty="0"/>
              <a:t>Command line tool</a:t>
            </a:r>
          </a:p>
          <a:p>
            <a:r>
              <a:rPr lang="en-US" dirty="0" err="1"/>
              <a:t>AzCopy</a:t>
            </a:r>
            <a:r>
              <a:rPr lang="en-US" dirty="0"/>
              <a:t> to upload large file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0961458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ta Factory</a:t>
            </a:r>
            <a:r>
              <a:rPr lang="en-US" baseline="0" dirty="0"/>
              <a:t> - </a:t>
            </a:r>
            <a:r>
              <a:rPr lang="en-US" dirty="0"/>
              <a:t>Compose and orchestrate data services at scale. Create, schedule, orchestrate, and manage data pipelines. Visualize data lineage. Monitor data pipeline health</a:t>
            </a:r>
          </a:p>
          <a:p>
            <a:r>
              <a:rPr lang="en-IN" sz="1200" kern="0" dirty="0" err="1">
                <a:solidFill>
                  <a:srgbClr val="505050"/>
                </a:solidFill>
              </a:rPr>
              <a:t>Sqoop</a:t>
            </a:r>
            <a:r>
              <a:rPr lang="en-IN" sz="1200" kern="0" baseline="0" dirty="0">
                <a:solidFill>
                  <a:srgbClr val="505050"/>
                </a:solidFill>
              </a:rPr>
              <a:t> - </a:t>
            </a:r>
            <a:r>
              <a:rPr lang="en-IN" sz="1200" kern="0" dirty="0">
                <a:solidFill>
                  <a:srgbClr val="505050"/>
                </a:solidFill>
              </a:rPr>
              <a:t>Extract required data from a table, view, or query in the source database and save the results as a file in your cluster storage.</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200" kern="0" dirty="0">
                <a:solidFill>
                  <a:srgbClr val="505050"/>
                </a:solidFill>
              </a:rPr>
              <a:t>Microsoft Analytics Platform System (APS) contains </a:t>
            </a:r>
            <a:r>
              <a:rPr lang="en-IN" sz="1200" kern="0" dirty="0" err="1">
                <a:solidFill>
                  <a:srgbClr val="505050"/>
                </a:solidFill>
              </a:rPr>
              <a:t>PolyBase</a:t>
            </a:r>
            <a:r>
              <a:rPr lang="en-IN" sz="1200" kern="0" dirty="0">
                <a:solidFill>
                  <a:srgbClr val="505050"/>
                </a:solidFill>
              </a:rPr>
              <a:t>, to expose a SQL-based interface for accessing data stored in Hadoop and HDInsight </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88D5E3-B0C4-244E-905F-C9848084E0A1}"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40560783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59D4D2D-C6E4-458B-877C-A7558DA25873}"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5/2017</a:t>
            </a:fld>
            <a:endParaRPr kumimoji="0" lang="en-US" sz="1800" b="0" i="0" u="none" strike="noStrike" kern="0" cap="none" spc="0" normalizeH="0" baseline="0" noProof="0" dirty="0">
              <a:ln>
                <a:noFill/>
              </a:ln>
              <a:solidFill>
                <a:prstClr val="black"/>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2382293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
        <p:nvSpPr>
          <p:cNvPr id="7" name="TextBox 6"/>
          <p:cNvSpPr txBox="1"/>
          <p:nvPr userDrawn="1"/>
        </p:nvSpPr>
        <p:spPr>
          <a:xfrm>
            <a:off x="193270" y="164177"/>
            <a:ext cx="4666277" cy="246221"/>
          </a:xfrm>
          <a:prstGeom prst="rect">
            <a:avLst/>
          </a:prstGeom>
          <a:noFill/>
        </p:spPr>
        <p:txBody>
          <a:bodyPr wrap="square" lIns="0" tIns="0" rIns="0" bIns="0" rtlCol="0" anchor="ctr">
            <a:spAutoFit/>
          </a:bodyPr>
          <a:lstStyle/>
          <a:p>
            <a:pPr algn="l"/>
            <a:r>
              <a:rPr lang="en-US" sz="1600" dirty="0">
                <a:solidFill>
                  <a:schemeClr val="tx1">
                    <a:lumMod val="75000"/>
                    <a:lumOff val="25000"/>
                    <a:alpha val="99000"/>
                  </a:schemeClr>
                </a:solidFill>
                <a:latin typeface="Segoe UI" panose="020B0502040204020203" pitchFamily="34" charset="0"/>
                <a:cs typeface="Segoe UI" panose="020B0502040204020203" pitchFamily="34" charset="0"/>
              </a:rPr>
              <a:t>WW Azure Americas Community Exam</a:t>
            </a:r>
            <a:r>
              <a:rPr lang="en-US" sz="1600" baseline="0" dirty="0">
                <a:solidFill>
                  <a:schemeClr val="tx1">
                    <a:lumMod val="75000"/>
                    <a:lumOff val="25000"/>
                    <a:alpha val="99000"/>
                  </a:schemeClr>
                </a:solidFill>
                <a:latin typeface="Segoe UI" panose="020B0502040204020203" pitchFamily="34" charset="0"/>
                <a:cs typeface="Segoe UI" panose="020B0502040204020203" pitchFamily="34" charset="0"/>
              </a:rPr>
              <a:t> Prep Series</a:t>
            </a:r>
            <a:endParaRPr lang="en-US" sz="1600" dirty="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42519667"/>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145721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93198533"/>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9968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7FBA00"/>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Tree>
    <p:extLst>
      <p:ext uri="{BB962C8B-B14F-4D97-AF65-F5344CB8AC3E}">
        <p14:creationId xmlns:p14="http://schemas.microsoft.com/office/powerpoint/2010/main" val="154235041"/>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a:t>Click to edit Master subtitle style</a:t>
            </a:r>
          </a:p>
        </p:txBody>
      </p:sp>
      <p:sp>
        <p:nvSpPr>
          <p:cNvPr id="13" name="Title 1"/>
          <p:cNvSpPr txBox="1">
            <a:spLocks/>
          </p:cNvSpPr>
          <p:nvPr userDrawn="1"/>
        </p:nvSpPr>
        <p:spPr>
          <a:xfrm>
            <a:off x="193271" y="3376350"/>
            <a:ext cx="8409867" cy="1692617"/>
          </a:xfrm>
          <a:prstGeom prst="rect">
            <a:avLst/>
          </a:prstGeom>
          <a:solidFill>
            <a:srgbClr val="82BF36"/>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lang="en-US" sz="4000" dirty="0"/>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859386594"/>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61360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lvl1pPr>
            <a:lvl2pPr>
              <a:defRPr>
                <a:solidFill>
                  <a:schemeClr val="tx1">
                    <a:lumMod val="75000"/>
                    <a:lumOff val="25000"/>
                  </a:schemeClr>
                </a:solidFill>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831404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rgbClr val="86C4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lvl1pPr>
            <a:lvl2pPr>
              <a:defRPr>
                <a:solidFill>
                  <a:schemeClr val="tx1">
                    <a:lumMod val="75000"/>
                    <a:lumOff val="25000"/>
                  </a:schemeClr>
                </a:solidFill>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841695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063529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775438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4603016" cy="246221"/>
          </a:xfrm>
          <a:prstGeom prst="rect">
            <a:avLst/>
          </a:prstGeom>
          <a:noFill/>
        </p:spPr>
        <p:txBody>
          <a:bodyPr wrap="square" lIns="0" tIns="0" rIns="0" bIns="0" rtlCol="0" anchor="ctr">
            <a:spAutoFit/>
          </a:bodyPr>
          <a:lstStyle/>
          <a:p>
            <a:pPr algn="l"/>
            <a:r>
              <a:rPr lang="en-US" sz="1600" dirty="0">
                <a:solidFill>
                  <a:schemeClr val="tx1">
                    <a:lumMod val="75000"/>
                    <a:lumOff val="25000"/>
                    <a:alpha val="99000"/>
                  </a:schemeClr>
                </a:solidFill>
                <a:latin typeface="Segoe UI" panose="020B0502040204020203" pitchFamily="34" charset="0"/>
                <a:cs typeface="Segoe UI" panose="020B0502040204020203" pitchFamily="34" charset="0"/>
              </a:rPr>
              <a:t>WW Azure Americas Community Exam</a:t>
            </a:r>
            <a:r>
              <a:rPr lang="en-US" sz="1600" baseline="0" dirty="0">
                <a:solidFill>
                  <a:schemeClr val="tx1">
                    <a:lumMod val="75000"/>
                    <a:lumOff val="25000"/>
                    <a:alpha val="99000"/>
                  </a:schemeClr>
                </a:solidFill>
                <a:latin typeface="Segoe UI" panose="020B0502040204020203" pitchFamily="34" charset="0"/>
                <a:cs typeface="Segoe UI" panose="020B0502040204020203" pitchFamily="34" charset="0"/>
              </a:rPr>
              <a:t> Prep Series</a:t>
            </a:r>
            <a:endParaRPr lang="en-US" sz="1600" dirty="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232600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80029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28452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85000"/>
                  </a:schemeClr>
                </a:solidFill>
              </a:rPr>
              <a:t>©2013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16155457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279455"/>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209168566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10272908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Slide Number Placeholder 2"/>
          <p:cNvSpPr>
            <a:spLocks noGrp="1"/>
          </p:cNvSpPr>
          <p:nvPr>
            <p:ph type="sldNum" sz="quarter" idx="11"/>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23142" y="6434664"/>
            <a:ext cx="935823" cy="239431"/>
          </a:xfrm>
          <a:prstGeom prst="rect">
            <a:avLst/>
          </a:prstGeom>
        </p:spPr>
      </p:pic>
    </p:spTree>
    <p:extLst>
      <p:ext uri="{BB962C8B-B14F-4D97-AF65-F5344CB8AC3E}">
        <p14:creationId xmlns:p14="http://schemas.microsoft.com/office/powerpoint/2010/main" val="3961678751"/>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a:t>Click to edit Master title style</a:t>
            </a:r>
            <a:endParaRPr lang="en-US" dirty="0"/>
          </a:p>
        </p:txBody>
      </p:sp>
      <p:sp>
        <p:nvSpPr>
          <p:cNvPr id="4" name="Slide Number Placeholder 2"/>
          <p:cNvSpPr>
            <a:spLocks noGrp="1"/>
          </p:cNvSpPr>
          <p:nvPr>
            <p:ph type="sldNum" sz="quarter" idx="11"/>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436095535"/>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339671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6922" y="1284251"/>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70927391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3" name="Rectangle 2"/>
          <p:cNvSpPr/>
          <p:nvPr/>
        </p:nvSpPr>
        <p:spPr bwMode="hidden">
          <a:xfrm>
            <a:off x="1" y="1155941"/>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4" y="1447803"/>
            <a:ext cx="11155093" cy="2089751"/>
          </a:xfrm>
        </p:spPr>
        <p:txBody>
          <a:bodyPr/>
          <a:lstStyle>
            <a:lvl1pPr marL="0" indent="0">
              <a:buNone/>
              <a:defRPr sz="3235">
                <a:gradFill>
                  <a:gsLst>
                    <a:gs pos="1250">
                      <a:srgbClr val="000000"/>
                    </a:gs>
                    <a:gs pos="100000">
                      <a:srgbClr val="000000"/>
                    </a:gs>
                  </a:gsLst>
                  <a:lin ang="5400000" scaled="0"/>
                </a:gradFill>
                <a:latin typeface="Consolas" pitchFamily="49" charset="0"/>
                <a:cs typeface="Consolas" pitchFamily="49" charset="0"/>
              </a:defRPr>
            </a:lvl1pPr>
            <a:lvl2pPr marL="339726"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9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6"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9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78076789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77458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46064"/>
            <a:ext cx="10972800" cy="439736"/>
          </a:xfrm>
        </p:spPr>
        <p:txBody>
          <a:bodyPr/>
          <a:lstStyle/>
          <a:p>
            <a:r>
              <a:rPr lang="en-US"/>
              <a:t>Click to edit Master title style</a:t>
            </a:r>
          </a:p>
        </p:txBody>
      </p:sp>
      <p:sp>
        <p:nvSpPr>
          <p:cNvPr id="3" name="Content Placeholder 2"/>
          <p:cNvSpPr>
            <a:spLocks noGrp="1"/>
          </p:cNvSpPr>
          <p:nvPr>
            <p:ph idx="1"/>
          </p:nvPr>
        </p:nvSpPr>
        <p:spPr>
          <a:xfrm>
            <a:off x="609600" y="1502828"/>
            <a:ext cx="10972800" cy="2250695"/>
          </a:xfrm>
        </p:spPr>
        <p:txBody>
          <a:bodyPr/>
          <a:lstStyle>
            <a:lvl1pPr>
              <a:spcAft>
                <a:spcPts val="0"/>
              </a:spcAft>
              <a:defRPr/>
            </a:lvl1pPr>
            <a:lvl2pPr>
              <a:spcBef>
                <a:spcPts val="1100"/>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3"/>
          </p:nvPr>
        </p:nvSpPr>
        <p:spPr>
          <a:xfrm>
            <a:off x="609600" y="627889"/>
            <a:ext cx="10972800" cy="312143"/>
          </a:xfrm>
        </p:spPr>
        <p:txBody>
          <a:bodyPr tIns="0"/>
          <a:lstStyle>
            <a:lvl1pPr>
              <a:spcAft>
                <a:spcPts val="0"/>
              </a:spcAft>
              <a:defRPr sz="1600">
                <a:solidFill>
                  <a:schemeClr val="bg1"/>
                </a:solidFill>
                <a:latin typeface="Segoe" pitchFamily="34" charset="0"/>
              </a:defRPr>
            </a:lvl1pPr>
          </a:lstStyle>
          <a:p>
            <a:pPr lvl="0"/>
            <a:r>
              <a:rPr lang="en-US"/>
              <a:t>Click to edit Master text styles</a:t>
            </a:r>
          </a:p>
        </p:txBody>
      </p:sp>
      <p:sp>
        <p:nvSpPr>
          <p:cNvPr id="5" name="Slide Number Placeholder 2"/>
          <p:cNvSpPr>
            <a:spLocks noGrp="1"/>
          </p:cNvSpPr>
          <p:nvPr>
            <p:ph type="sldNum" sz="quarter" idx="12"/>
          </p:nvPr>
        </p:nvSpPr>
        <p:spPr>
          <a:xfrm>
            <a:off x="11367165" y="6437742"/>
            <a:ext cx="555597" cy="133860"/>
          </a:xfrm>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282414411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20835" y="1447803"/>
            <a:ext cx="5396366" cy="2622373"/>
          </a:xfrm>
        </p:spPr>
        <p:txBody>
          <a:bodyPr/>
          <a:lstStyle>
            <a:lvl1pPr marL="0" indent="0">
              <a:spcBef>
                <a:spcPts val="1200"/>
              </a:spcBef>
              <a:buNone/>
              <a:defRPr sz="4019">
                <a:gradFill>
                  <a:gsLst>
                    <a:gs pos="100000">
                      <a:schemeClr val="tx2"/>
                    </a:gs>
                    <a:gs pos="0">
                      <a:schemeClr val="tx2"/>
                    </a:gs>
                  </a:gsLst>
                  <a:lin ang="5400000" scaled="0"/>
                </a:gradFill>
                <a:latin typeface="+mj-lt"/>
              </a:defRPr>
            </a:lvl1pPr>
            <a:lvl2pPr marL="0" indent="0">
              <a:buNone/>
              <a:defRPr sz="1961"/>
            </a:lvl2pPr>
            <a:lvl3pPr marL="233364" indent="0">
              <a:buNone/>
              <a:defRPr sz="1961"/>
            </a:lvl3pPr>
            <a:lvl4pPr marL="457202" indent="0">
              <a:buNone/>
              <a:defRPr sz="1961"/>
            </a:lvl4pPr>
            <a:lvl5pPr marL="693741" indent="0">
              <a:buNone/>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2" y="1447803"/>
            <a:ext cx="5396366" cy="2622373"/>
          </a:xfrm>
        </p:spPr>
        <p:txBody>
          <a:bodyPr/>
          <a:lstStyle>
            <a:lvl1pPr marL="0" indent="0">
              <a:spcBef>
                <a:spcPts val="1200"/>
              </a:spcBef>
              <a:buNone/>
              <a:defRPr lang="en-US" sz="4019"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2pPr>
            <a:lvl3pPr marL="233364"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3pPr>
            <a:lvl4pPr marL="460377"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smtClean="0">
                <a:gradFill>
                  <a:gsLst>
                    <a:gs pos="1250">
                      <a:schemeClr val="tx1"/>
                    </a:gs>
                    <a:gs pos="100000">
                      <a:schemeClr val="tx1"/>
                    </a:gs>
                  </a:gsLst>
                  <a:lin ang="5400000" scaled="0"/>
                </a:gradFill>
                <a:latin typeface="+mn-lt"/>
                <a:ea typeface="+mn-ea"/>
                <a:cs typeface="+mn-cs"/>
              </a:defRPr>
            </a:lvl4pPr>
            <a:lvl5pPr marL="6873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5" name="TextBox 7"/>
          <p:cNvSpPr txBox="1"/>
          <p:nvPr/>
        </p:nvSpPr>
        <p:spPr>
          <a:xfrm>
            <a:off x="4161400" y="6593488"/>
            <a:ext cx="3869200" cy="1659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78"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57172027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402191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100815"/>
            <a:ext cx="11007660" cy="1686801"/>
          </a:xfrm>
        </p:spPr>
        <p:txBody>
          <a:bodyPr/>
          <a:lstStyle>
            <a:lvl1pPr>
              <a:defRPr sz="5882">
                <a:solidFill>
                  <a:schemeClr val="bg1"/>
                </a:solidFill>
              </a:defRPr>
            </a:lvl1pPr>
          </a:lstStyle>
          <a:p>
            <a:r>
              <a:rPr lang="en-US"/>
              <a:t>Headline here</a:t>
            </a:r>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1332161789"/>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Demo_screen">
    <p:spTree>
      <p:nvGrpSpPr>
        <p:cNvPr id="1" name=""/>
        <p:cNvGrpSpPr/>
        <p:nvPr/>
      </p:nvGrpSpPr>
      <p:grpSpPr>
        <a:xfrm>
          <a:off x="0" y="0"/>
          <a:ext cx="0" cy="0"/>
          <a:chOff x="0" y="0"/>
          <a:chExt cx="0" cy="0"/>
        </a:xfrm>
      </p:grpSpPr>
      <p:sp>
        <p:nvSpPr>
          <p:cNvPr id="5" name="Text Placeholder 3"/>
          <p:cNvSpPr>
            <a:spLocks noGrp="1"/>
          </p:cNvSpPr>
          <p:nvPr>
            <p:ph type="body" sz="quarter" idx="11"/>
          </p:nvPr>
        </p:nvSpPr>
        <p:spPr>
          <a:xfrm>
            <a:off x="7563970" y="1350545"/>
            <a:ext cx="4358791" cy="4949771"/>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solidFill>
                  <a:schemeClr val="tx1"/>
                </a:solidFill>
                <a:latin typeface="+mj-lt"/>
              </a:defRPr>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p:txBody>
      </p:sp>
      <p:sp>
        <p:nvSpPr>
          <p:cNvPr id="7" name="Picture Placeholder 6"/>
          <p:cNvSpPr>
            <a:spLocks noGrp="1"/>
          </p:cNvSpPr>
          <p:nvPr>
            <p:ph type="pic" sz="quarter" idx="12" hasCustomPrompt="1"/>
          </p:nvPr>
        </p:nvSpPr>
        <p:spPr>
          <a:xfrm>
            <a:off x="269876" y="1350963"/>
            <a:ext cx="6868862" cy="4949353"/>
          </a:xfrm>
          <a:ln w="152400">
            <a:noFill/>
          </a:ln>
        </p:spPr>
        <p:txBody>
          <a:bodyPr/>
          <a:lstStyle>
            <a:lvl1pPr marL="0" indent="0">
              <a:buNone/>
              <a:defRPr/>
            </a:lvl1pPr>
          </a:lstStyle>
          <a:p>
            <a:r>
              <a:rPr lang="en-US" dirty="0"/>
              <a:t>Screen shot or image here</a:t>
            </a:r>
          </a:p>
        </p:txBody>
      </p:sp>
      <p:grpSp>
        <p:nvGrpSpPr>
          <p:cNvPr id="6"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10" name="Title 2"/>
          <p:cNvSpPr>
            <a:spLocks noGrp="1"/>
          </p:cNvSpPr>
          <p:nvPr>
            <p:ph type="title"/>
          </p:nvPr>
        </p:nvSpPr>
        <p:spPr>
          <a:xfrm>
            <a:off x="269240" y="369721"/>
            <a:ext cx="11655840"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416617236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Title_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435935" y="1350547"/>
            <a:ext cx="6751518" cy="4826969"/>
          </a:xfrm>
          <a:solidFill>
            <a:schemeClr val="bg1">
              <a:lumMod val="95000"/>
            </a:schemeClr>
          </a:solidFill>
          <a:ln w="76200">
            <a:solidFill>
              <a:srgbClr val="0072C6"/>
            </a:solidFill>
          </a:ln>
        </p:spPr>
        <p:txBody>
          <a:bodyPr wrap="square">
            <a:normAutofit/>
          </a:bodyPr>
          <a:lstStyle>
            <a:lvl1pPr marL="0" indent="0" defTabSz="365760">
              <a:lnSpc>
                <a:spcPct val="100000"/>
              </a:lnSpc>
              <a:spcBef>
                <a:spcPts val="0"/>
              </a:spcBef>
              <a:buClr>
                <a:schemeClr val="tx1"/>
              </a:buClr>
              <a:buFont typeface="Wingdings" pitchFamily="2" charset="2"/>
              <a:buNone/>
              <a:defRPr sz="1800" baseline="0">
                <a:solidFill>
                  <a:schemeClr val="tx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800">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800">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800">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80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563971" y="1350547"/>
            <a:ext cx="3982987" cy="4826970"/>
          </a:xfrm>
        </p:spPr>
        <p:txBody>
          <a:bodyPr wrap="square">
            <a:normAutofit/>
          </a:bodyPr>
          <a:lstStyle>
            <a:lvl1pPr marL="0" indent="0">
              <a:spcBef>
                <a:spcPts val="1200"/>
              </a:spcBef>
              <a:buClr>
                <a:schemeClr val="tx1"/>
              </a:buClr>
              <a:buFont typeface="Wingdings" pitchFamily="2" charset="2"/>
              <a:buNone/>
              <a:defRPr sz="2600">
                <a:solidFill>
                  <a:srgbClr val="0072C6"/>
                </a:solidFill>
              </a:defRPr>
            </a:lvl1pPr>
            <a:lvl2pPr marL="0" indent="0">
              <a:spcBef>
                <a:spcPts val="600"/>
              </a:spcBef>
              <a:buNone/>
              <a:defRPr sz="1800">
                <a:latin typeface="+mj-lt"/>
              </a:defRPr>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8" name="Title 2"/>
          <p:cNvSpPr>
            <a:spLocks noGrp="1"/>
          </p:cNvSpPr>
          <p:nvPr>
            <p:ph type="title"/>
          </p:nvPr>
        </p:nvSpPr>
        <p:spPr>
          <a:xfrm>
            <a:off x="269240" y="369721"/>
            <a:ext cx="11655840"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92917033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63pt Title Only">
    <p:spTree>
      <p:nvGrpSpPr>
        <p:cNvPr id="1" name=""/>
        <p:cNvGrpSpPr/>
        <p:nvPr/>
      </p:nvGrpSpPr>
      <p:grpSpPr>
        <a:xfrm>
          <a:off x="0" y="0"/>
          <a:ext cx="0" cy="0"/>
          <a:chOff x="0" y="0"/>
          <a:chExt cx="0" cy="0"/>
        </a:xfrm>
      </p:grpSpPr>
      <p:sp>
        <p:nvSpPr>
          <p:cNvPr id="3" name="Title 2"/>
          <p:cNvSpPr>
            <a:spLocks noGrp="1"/>
          </p:cNvSpPr>
          <p:nvPr>
            <p:ph type="title"/>
          </p:nvPr>
        </p:nvSpPr>
        <p:spPr>
          <a:xfrm>
            <a:off x="269240" y="369721"/>
            <a:ext cx="11655840" cy="899665"/>
          </a:xfrm>
        </p:spPr>
        <p:txBody>
          <a:bodyPr/>
          <a:lstStyle>
            <a:lvl1pPr>
              <a:defRPr sz="4400"/>
            </a:lvl1pPr>
          </a:lstStyle>
          <a:p>
            <a:r>
              <a:rPr lang="en-US" dirty="0"/>
              <a:t>Click to edit Master title style</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65464950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
        <p:nvSpPr>
          <p:cNvPr id="8" name="Title 2"/>
          <p:cNvSpPr>
            <a:spLocks noGrp="1"/>
          </p:cNvSpPr>
          <p:nvPr>
            <p:ph type="title"/>
          </p:nvPr>
        </p:nvSpPr>
        <p:spPr>
          <a:xfrm>
            <a:off x="269240" y="369721"/>
            <a:ext cx="11655840"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63652002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400" baseline="0">
                <a:solidFill>
                  <a:schemeClr val="tx1"/>
                </a:solidFill>
              </a:defRPr>
            </a:lvl1pPr>
          </a:lstStyle>
          <a:p>
            <a:r>
              <a:rPr lang="en-US" dirty="0"/>
              <a:t>Lorem ipsum dolor sit.</a:t>
            </a:r>
          </a:p>
        </p:txBody>
      </p:sp>
      <p:sp>
        <p:nvSpPr>
          <p:cNvPr id="5" name="Text Placeholder 3"/>
          <p:cNvSpPr>
            <a:spLocks noGrp="1"/>
          </p:cNvSpPr>
          <p:nvPr>
            <p:ph type="body" sz="quarter" idx="11"/>
          </p:nvPr>
        </p:nvSpPr>
        <p:spPr>
          <a:xfrm>
            <a:off x="7563970" y="1350545"/>
            <a:ext cx="4358791" cy="4949771"/>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6"/>
          <p:cNvSpPr>
            <a:spLocks noGrp="1"/>
          </p:cNvSpPr>
          <p:nvPr>
            <p:ph type="pic" sz="quarter" idx="12" hasCustomPrompt="1"/>
          </p:nvPr>
        </p:nvSpPr>
        <p:spPr>
          <a:xfrm>
            <a:off x="269875" y="1350963"/>
            <a:ext cx="7294563" cy="4949353"/>
          </a:xfrm>
          <a:ln w="152400">
            <a:noFill/>
          </a:ln>
        </p:spPr>
        <p:txBody>
          <a:bodyPr/>
          <a:lstStyle>
            <a:lvl1pPr marL="0" indent="0">
              <a:buNone/>
              <a:defRPr/>
            </a:lvl1pPr>
          </a:lstStyle>
          <a:p>
            <a:r>
              <a:rPr lang="en-US" dirty="0"/>
              <a:t>Screen shot or image here</a:t>
            </a:r>
          </a:p>
        </p:txBody>
      </p:sp>
      <p:grpSp>
        <p:nvGrpSpPr>
          <p:cNvPr id="6"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99332621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dirty="0"/>
              <a:t>Lorem ipsum dolor sit.</a:t>
            </a:r>
          </a:p>
        </p:txBody>
      </p:sp>
      <p:sp>
        <p:nvSpPr>
          <p:cNvPr id="3" name="Text Placeholder 3"/>
          <p:cNvSpPr>
            <a:spLocks noGrp="1"/>
          </p:cNvSpPr>
          <p:nvPr>
            <p:ph type="body" sz="quarter" idx="10" hasCustomPrompt="1"/>
          </p:nvPr>
        </p:nvSpPr>
        <p:spPr>
          <a:xfrm>
            <a:off x="269241" y="1350547"/>
            <a:ext cx="6918212" cy="5040206"/>
          </a:xfrm>
          <a:solidFill>
            <a:schemeClr val="bg2"/>
          </a:solidFill>
          <a:ln w="152400">
            <a:solidFill>
              <a:schemeClr val="tx1"/>
            </a:solidFill>
          </a:ln>
        </p:spPr>
        <p:txBody>
          <a:bodyPr wrap="square">
            <a:normAutofit/>
          </a:bodyPr>
          <a:lstStyle>
            <a:lvl1pPr marL="0" indent="0" defTabSz="365760">
              <a:lnSpc>
                <a:spcPct val="100000"/>
              </a:lnSpc>
              <a:spcBef>
                <a:spcPts val="0"/>
              </a:spcBef>
              <a:buClr>
                <a:schemeClr val="tx1"/>
              </a:buClr>
              <a:buFont typeface="Wingdings" pitchFamily="2" charset="2"/>
              <a:buNone/>
              <a:defRPr sz="2800" baseline="0">
                <a:solidFill>
                  <a:schemeClr val="tx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2800">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2800">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2800">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280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563970" y="1350546"/>
            <a:ext cx="4358791" cy="5040207"/>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75767418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4614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420369878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grpSp>
        <p:nvGrpSpPr>
          <p:cNvPr id="5"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228934073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702968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4249" y="326022"/>
            <a:ext cx="11151917" cy="507831"/>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24249" y="1451222"/>
            <a:ext cx="11378958" cy="118801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defTabSz="686047"/>
            <a:fld id="{55CDD7E1-A646-4088-BE0C-DB49A80F5376}" type="datetimeFigureOut">
              <a:rPr lang="en-US" sz="1400" smtClean="0">
                <a:solidFill>
                  <a:srgbClr val="FFFFFF"/>
                </a:solidFill>
              </a:rPr>
              <a:pPr defTabSz="686047"/>
              <a:t>12/5/2017</a:t>
            </a:fld>
            <a:endParaRPr lang="en-US" sz="1400" dirty="0">
              <a:solidFill>
                <a:srgbClr val="FFFFFF"/>
              </a:solidFill>
            </a:endParaRPr>
          </a:p>
        </p:txBody>
      </p:sp>
      <p:sp>
        <p:nvSpPr>
          <p:cNvPr id="5" name="Footer Placeholder 4"/>
          <p:cNvSpPr>
            <a:spLocks noGrp="1"/>
          </p:cNvSpPr>
          <p:nvPr>
            <p:ph type="ftr" sz="quarter" idx="11"/>
          </p:nvPr>
        </p:nvSpPr>
        <p:spPr>
          <a:xfrm>
            <a:off x="4038601" y="6356352"/>
            <a:ext cx="4114800" cy="365125"/>
          </a:xfrm>
          <a:prstGeom prst="rect">
            <a:avLst/>
          </a:prstGeom>
        </p:spPr>
        <p:txBody>
          <a:bodyPr/>
          <a:lstStyle/>
          <a:p>
            <a:pPr defTabSz="686047"/>
            <a:endParaRPr sz="1400" dirty="0">
              <a:solidFill>
                <a:srgbClr val="FFFFFF"/>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686047"/>
            <a:fld id="{F920C200-3845-4249-9FA3-EA0449FF460B}" type="slidenum">
              <a:rPr sz="1400">
                <a:solidFill>
                  <a:srgbClr val="FFFFFF"/>
                </a:solidFill>
              </a:rPr>
              <a:pPr defTabSz="686047"/>
              <a:t>‹#›</a:t>
            </a:fld>
            <a:endParaRPr sz="1400" dirty="0">
              <a:solidFill>
                <a:srgbClr val="FFFFFF"/>
              </a:solidFill>
            </a:endParaRPr>
          </a:p>
        </p:txBody>
      </p:sp>
      <p:grpSp>
        <p:nvGrpSpPr>
          <p:cNvPr id="7" name="Group 2"/>
          <p:cNvGrpSpPr/>
          <p:nvPr userDrawn="1"/>
        </p:nvGrpSpPr>
        <p:grpSpPr>
          <a:xfrm>
            <a:off x="-1177" y="6512639"/>
            <a:ext cx="12192313" cy="353950"/>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52231046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63426564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grpSp>
        <p:nvGrpSpPr>
          <p:cNvPr id="4" name="Group 2"/>
          <p:cNvGrpSpPr/>
          <p:nvPr userDrawn="1"/>
        </p:nvGrpSpPr>
        <p:grpSpPr>
          <a:xfrm>
            <a:off x="-1177" y="6512639"/>
            <a:ext cx="12192313" cy="353950"/>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14320">
                <a:lnSpc>
                  <a:spcPts val="3000"/>
                </a:lnSpc>
              </a:pPr>
              <a:r>
                <a:rPr lang="en-US" sz="2800" dirty="0">
                  <a:solidFill>
                    <a:srgbClr val="FFFFFF"/>
                  </a:solidFill>
                  <a:latin typeface="Segoe UI Light"/>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13869">
                <a:lnSpc>
                  <a:spcPts val="2942"/>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194048260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5880"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46198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622112"/>
            <a:ext cx="11007660" cy="1703429"/>
          </a:xfrm>
        </p:spPr>
        <p:txBody>
          <a:bodyPr anchor="ctr"/>
          <a:lstStyle>
            <a:lvl1pPr>
              <a:defRPr sz="5882">
                <a:solidFill>
                  <a:schemeClr val="tx2"/>
                </a:solidFill>
              </a:defRPr>
            </a:lvl1pPr>
          </a:lstStyle>
          <a:p>
            <a:r>
              <a:rPr lang="en-US"/>
              <a:t>Thank you</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0996" y="482863"/>
            <a:ext cx="1225864" cy="261495"/>
          </a:xfrm>
          <a:prstGeom prst="rect">
            <a:avLst/>
          </a:prstGeom>
        </p:spPr>
      </p:pic>
    </p:spTree>
    <p:extLst>
      <p:ext uri="{BB962C8B-B14F-4D97-AF65-F5344CB8AC3E}">
        <p14:creationId xmlns:p14="http://schemas.microsoft.com/office/powerpoint/2010/main" val="132353844"/>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01497862"/>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66" tIns="38088" rIns="76166" bIns="38088" numCol="1" rtlCol="0" anchor="ctr" anchorCtr="0" compatLnSpc="1">
            <a:prstTxWarp prst="textNoShape">
              <a:avLst/>
            </a:prstTxWarp>
          </a:bodyPr>
          <a:lstStyle/>
          <a:p>
            <a:pPr algn="ctr" defTabSz="761456"/>
            <a:endParaRPr lang="en-US" sz="17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070456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902160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563913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04429597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69239" y="1663938"/>
            <a:ext cx="10757098" cy="490299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81233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dirty="0"/>
              <a:t>Lorem ipsum dolor sit.</a:t>
            </a:r>
          </a:p>
        </p:txBody>
      </p:sp>
      <p:sp>
        <p:nvSpPr>
          <p:cNvPr id="5" name="Text Placeholder 3"/>
          <p:cNvSpPr>
            <a:spLocks noGrp="1"/>
          </p:cNvSpPr>
          <p:nvPr>
            <p:ph type="body" sz="quarter" idx="11"/>
          </p:nvPr>
        </p:nvSpPr>
        <p:spPr>
          <a:xfrm>
            <a:off x="7563970" y="1350545"/>
            <a:ext cx="4358791" cy="5189047"/>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6"/>
          <p:cNvSpPr>
            <a:spLocks noGrp="1"/>
          </p:cNvSpPr>
          <p:nvPr>
            <p:ph type="pic" sz="quarter" idx="12" hasCustomPrompt="1"/>
          </p:nvPr>
        </p:nvSpPr>
        <p:spPr>
          <a:xfrm>
            <a:off x="269875" y="1350963"/>
            <a:ext cx="7294563" cy="5187950"/>
          </a:xfrm>
        </p:spPr>
        <p:txBody>
          <a:bodyPr/>
          <a:lstStyle>
            <a:lvl1pPr>
              <a:defRPr/>
            </a:lvl1pPr>
          </a:lstStyle>
          <a:p>
            <a:r>
              <a:rPr lang="en-US" dirty="0"/>
              <a:t>Screen shot or image here</a:t>
            </a:r>
          </a:p>
        </p:txBody>
      </p:sp>
    </p:spTree>
    <p:extLst>
      <p:ext uri="{BB962C8B-B14F-4D97-AF65-F5344CB8AC3E}">
        <p14:creationId xmlns:p14="http://schemas.microsoft.com/office/powerpoint/2010/main" val="73648654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5686" baseline="0">
                <a:solidFill>
                  <a:schemeClr val="tx1"/>
                </a:solidFill>
              </a:defRPr>
            </a:lvl1pPr>
          </a:lstStyle>
          <a:p>
            <a:r>
              <a:rPr lang="en-US"/>
              <a:t>Lorem ipsum dolor sit.</a:t>
            </a:r>
          </a:p>
        </p:txBody>
      </p:sp>
      <p:sp>
        <p:nvSpPr>
          <p:cNvPr id="3" name="Text Placeholder 3"/>
          <p:cNvSpPr>
            <a:spLocks noGrp="1"/>
          </p:cNvSpPr>
          <p:nvPr>
            <p:ph type="body" sz="quarter" idx="10" hasCustomPrompt="1"/>
          </p:nvPr>
        </p:nvSpPr>
        <p:spPr>
          <a:xfrm>
            <a:off x="269241" y="1350546"/>
            <a:ext cx="6918212" cy="5189047"/>
          </a:xfrm>
          <a:solidFill>
            <a:schemeClr val="bg2"/>
          </a:solidFill>
        </p:spPr>
        <p:txBody>
          <a:bodyPr wrap="square">
            <a:normAutofit/>
          </a:bodyPr>
          <a:lstStyle>
            <a:lvl1pPr marL="0" indent="0" defTabSz="365760">
              <a:lnSpc>
                <a:spcPct val="100000"/>
              </a:lnSpc>
              <a:spcBef>
                <a:spcPts val="0"/>
              </a:spcBef>
              <a:buClr>
                <a:schemeClr val="tx1"/>
              </a:buClr>
              <a:buFont typeface="Wingdings" pitchFamily="2" charset="2"/>
              <a:buNone/>
              <a:defRPr sz="2800" baseline="0">
                <a:solidFill>
                  <a:schemeClr val="tx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2800">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2800">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2800">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2800">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563970" y="1350545"/>
            <a:ext cx="4358791" cy="5189047"/>
          </a:xfrm>
        </p:spPr>
        <p:txBody>
          <a:bodyPr wrap="square">
            <a:norm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7107560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24pt Title/36pt Header">
    <p:spTree>
      <p:nvGrpSpPr>
        <p:cNvPr id="1" name=""/>
        <p:cNvGrpSpPr/>
        <p:nvPr/>
      </p:nvGrpSpPr>
      <p:grpSpPr>
        <a:xfrm>
          <a:off x="0" y="0"/>
          <a:ext cx="0" cy="0"/>
          <a:chOff x="0" y="0"/>
          <a:chExt cx="0" cy="0"/>
        </a:xfrm>
      </p:grpSpPr>
      <p:sp>
        <p:nvSpPr>
          <p:cNvPr id="6" name="Text Placeholder 4"/>
          <p:cNvSpPr>
            <a:spLocks noGrp="1"/>
          </p:cNvSpPr>
          <p:nvPr>
            <p:ph type="body" sz="quarter" idx="11"/>
          </p:nvPr>
        </p:nvSpPr>
        <p:spPr>
          <a:xfrm>
            <a:off x="269239" y="1551785"/>
            <a:ext cx="6274974" cy="497919"/>
          </a:xfrm>
        </p:spPr>
        <p:txBody>
          <a:bodyPr lIns="182880" rIns="182880"/>
          <a:lstStyle>
            <a:lvl1pPr marL="0" indent="0">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2" name="Footer Placeholder 1"/>
          <p:cNvSpPr>
            <a:spLocks noGrp="1"/>
          </p:cNvSpPr>
          <p:nvPr>
            <p:ph type="ftr" sz="quarter" idx="12"/>
          </p:nvPr>
        </p:nvSpPr>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314369192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Image &amp; 54pt tit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1"/>
          </a:xfrm>
        </p:spPr>
        <p:txBody>
          <a:bodyPr/>
          <a:lstStyle>
            <a:lvl1pPr marL="0" indent="0">
              <a:buNone/>
              <a:defRPr>
                <a:solidFill>
                  <a:srgbClr val="505050"/>
                </a:solidFill>
              </a:defRPr>
            </a:lvl1pPr>
          </a:lstStyle>
          <a:p>
            <a:r>
              <a:rPr lang="en-US" dirty="0"/>
              <a:t>Click icon to add picture</a:t>
            </a:r>
          </a:p>
        </p:txBody>
      </p:sp>
      <p:sp>
        <p:nvSpPr>
          <p:cNvPr id="2" name="Title 1"/>
          <p:cNvSpPr>
            <a:spLocks noGrp="1"/>
          </p:cNvSpPr>
          <p:nvPr>
            <p:ph type="title"/>
          </p:nvPr>
        </p:nvSpPr>
        <p:spPr>
          <a:xfrm>
            <a:off x="269240" y="737788"/>
            <a:ext cx="11384284" cy="5201535"/>
          </a:xfrm>
        </p:spPr>
        <p:txBody>
          <a:bodyPr/>
          <a:lstStyle>
            <a:lvl1pPr>
              <a:defRPr>
                <a:solidFill>
                  <a:schemeClr val="accent2"/>
                </a:solidFill>
              </a:defRPr>
            </a:lvl1pPr>
          </a:lstStyle>
          <a:p>
            <a:r>
              <a:rPr lang="en-US"/>
              <a:t>Click to edit Master title style</a:t>
            </a:r>
            <a:endParaRPr lang="en-US" dirty="0"/>
          </a:p>
        </p:txBody>
      </p:sp>
      <p:sp>
        <p:nvSpPr>
          <p:cNvPr id="3" name="Footer Placeholder 2"/>
          <p:cNvSpPr>
            <a:spLocks noGrp="1"/>
          </p:cNvSpPr>
          <p:nvPr>
            <p:ph type="ftr" sz="quarter" idx="11"/>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3739260695"/>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Categories">
    <p:spTree>
      <p:nvGrpSpPr>
        <p:cNvPr id="1" name=""/>
        <p:cNvGrpSpPr/>
        <p:nvPr/>
      </p:nvGrpSpPr>
      <p:grpSpPr>
        <a:xfrm>
          <a:off x="0" y="0"/>
          <a:ext cx="0" cy="0"/>
          <a:chOff x="0" y="0"/>
          <a:chExt cx="0" cy="0"/>
        </a:xfrm>
      </p:grpSpPr>
      <p:sp>
        <p:nvSpPr>
          <p:cNvPr id="11" name="Text Placeholder 4"/>
          <p:cNvSpPr>
            <a:spLocks noGrp="1"/>
          </p:cNvSpPr>
          <p:nvPr>
            <p:ph type="body" sz="quarter" idx="10"/>
          </p:nvPr>
        </p:nvSpPr>
        <p:spPr>
          <a:xfrm>
            <a:off x="269239" y="2622111"/>
            <a:ext cx="8067798" cy="512990"/>
          </a:xfrm>
        </p:spPr>
        <p:txBody>
          <a:bodyPr lIns="182880"/>
          <a:lstStyle>
            <a:lvl1pPr marL="0" indent="0">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69240" y="348573"/>
            <a:ext cx="8067798"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69239"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197757"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126275"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054794" y="3697962"/>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dirty="0">
                <a:solidFill>
                  <a:srgbClr val="FFFFFF"/>
                </a:solidFill>
              </a:rPr>
              <a:t>Microsoft Confidential</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2670455736"/>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622112"/>
            <a:ext cx="11007660" cy="1703429"/>
          </a:xfrm>
        </p:spPr>
        <p:txBody>
          <a:bodyPr anchor="ctr"/>
          <a:lstStyle>
            <a:lvl1pPr>
              <a:defRPr sz="5882">
                <a:solidFill>
                  <a:schemeClr val="tx2"/>
                </a:solidFill>
              </a:defRPr>
            </a:lvl1pPr>
          </a:lstStyle>
          <a:p>
            <a:r>
              <a:rPr lang="en-US"/>
              <a:t>Thank you</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0996" y="482863"/>
            <a:ext cx="1225864" cy="261495"/>
          </a:xfrm>
          <a:prstGeom prst="rect">
            <a:avLst/>
          </a:prstGeom>
        </p:spPr>
      </p:pic>
    </p:spTree>
    <p:extLst>
      <p:ext uri="{BB962C8B-B14F-4D97-AF65-F5344CB8AC3E}">
        <p14:creationId xmlns:p14="http://schemas.microsoft.com/office/powerpoint/2010/main" val="4183296981"/>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533104613"/>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8398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082581" y="6165102"/>
            <a:ext cx="1840181" cy="40183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9414868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5412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85000"/>
                  </a:scheme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26678372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dirty="0"/>
              <a:t>Click to edit Master subtitle style</a:t>
            </a:r>
          </a:p>
        </p:txBody>
      </p:sp>
      <p:sp>
        <p:nvSpPr>
          <p:cNvPr id="13" name="Title 1"/>
          <p:cNvSpPr txBox="1">
            <a:spLocks/>
          </p:cNvSpPr>
          <p:nvPr userDrawn="1"/>
        </p:nvSpPr>
        <p:spPr>
          <a:xfrm>
            <a:off x="193271" y="3376350"/>
            <a:ext cx="8409867" cy="1692617"/>
          </a:xfrm>
          <a:prstGeom prst="rect">
            <a:avLst/>
          </a:prstGeom>
          <a:solidFill>
            <a:srgbClr val="007233"/>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lang="en-US" sz="4000" dirty="0"/>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594463224"/>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2.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ags" Target="../tags/tag1.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vmlDrawing" Target="../drawings/vmlDrawing1.vml"/><Relationship Id="rId2" Type="http://schemas.openxmlformats.org/officeDocument/2006/relationships/slideLayout" Target="../slideLayouts/slideLayout24.xml"/><Relationship Id="rId16" Type="http://schemas.openxmlformats.org/officeDocument/2006/relationships/image" Target="../media/image4.pn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heme" Target="../theme/theme3.xml"/><Relationship Id="rId5" Type="http://schemas.openxmlformats.org/officeDocument/2006/relationships/slideLayout" Target="../slideLayouts/slideLayout27.xml"/><Relationship Id="rId15" Type="http://schemas.openxmlformats.org/officeDocument/2006/relationships/image" Target="../media/image3.emf"/><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theme" Target="../theme/theme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Tree>
    <p:extLst>
      <p:ext uri="{BB962C8B-B14F-4D97-AF65-F5344CB8AC3E}">
        <p14:creationId xmlns:p14="http://schemas.microsoft.com/office/powerpoint/2010/main" val="3118783959"/>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3" r:id="rId3"/>
    <p:sldLayoutId id="2147483664" r:id="rId4"/>
    <p:sldLayoutId id="2147483665" r:id="rId5"/>
    <p:sldLayoutId id="2147483666" r:id="rId6"/>
    <p:sldLayoutId id="2147483668" r:id="rId7"/>
    <p:sldLayoutId id="2147483669" r:id="rId8"/>
    <p:sldLayoutId id="2147483670" r:id="rId9"/>
    <p:sldLayoutId id="2147483814" r:id="rId10"/>
    <p:sldLayoutId id="2147483700" r:id="rId11"/>
    <p:sldLayoutId id="2147483702" r:id="rId12"/>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Tree>
    <p:extLst>
      <p:ext uri="{BB962C8B-B14F-4D97-AF65-F5344CB8AC3E}">
        <p14:creationId xmlns:p14="http://schemas.microsoft.com/office/powerpoint/2010/main" val="184447471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3"/>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14" imgW="377" imgH="377" progId="TCLayout.ActiveDocument.1">
                  <p:embed/>
                </p:oleObj>
              </mc:Choice>
              <mc:Fallback>
                <p:oleObj name="think-cell Slide" r:id="rId14" imgW="377" imgH="377" progId="TCLayout.ActiveDocument.1">
                  <p:embed/>
                  <p:pic>
                    <p:nvPicPr>
                      <p:cNvPr id="4" name="Object 3" hidden="1"/>
                      <p:cNvPicPr/>
                      <p:nvPr/>
                    </p:nvPicPr>
                    <p:blipFill>
                      <a:blip r:embed="rId15"/>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2051" name="Text Placeholder 3"/>
          <p:cNvSpPr>
            <a:spLocks noGrp="1"/>
          </p:cNvSpPr>
          <p:nvPr>
            <p:ph type="body" idx="1"/>
          </p:nvPr>
        </p:nvSpPr>
        <p:spPr bwMode="auto">
          <a:xfrm>
            <a:off x="269239" y="1279455"/>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806226100"/>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1" r:id="rId5"/>
    <p:sldLayoutId id="2147483752" r:id="rId6"/>
    <p:sldLayoutId id="2147483753" r:id="rId7"/>
    <p:sldLayoutId id="2147483754" r:id="rId8"/>
    <p:sldLayoutId id="2147483755" r:id="rId9"/>
    <p:sldLayoutId id="2147483813" r:id="rId10"/>
  </p:sldLayoutIdLst>
  <p:transition>
    <p:fade/>
  </p:transition>
  <p:hf hdr="0" ftr="0" dt="0"/>
  <p:txStyles>
    <p:titleStyle>
      <a:lvl1pPr algn="l" defTabSz="913505" rtl="0" eaLnBrk="1" fontAlgn="base" hangingPunct="1">
        <a:lnSpc>
          <a:spcPct val="90000"/>
        </a:lnSpc>
        <a:spcBef>
          <a:spcPct val="0"/>
        </a:spcBef>
        <a:spcAft>
          <a:spcPct val="0"/>
        </a:spcAft>
        <a:defRPr lang="en-US" sz="5294"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921"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353"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3" pos="293">
          <p15:clr>
            <a:srgbClr val="C35EA4"/>
          </p15:clr>
        </p15:guide>
        <p15:guide id="24" pos="7565">
          <p15:clr>
            <a:srgbClr val="C35EA4"/>
          </p15:clr>
        </p15:guide>
        <p15:guide id="25" orient="horz" pos="302">
          <p15:clr>
            <a:srgbClr val="C35EA4"/>
          </p15:clr>
        </p15:guide>
        <p15:guide id="26" orient="horz" pos="815">
          <p15:clr>
            <a:srgbClr val="C35EA4"/>
          </p15:clr>
        </p15:guide>
        <p15:guide id="28" orient="horz" pos="4075">
          <p15:clr>
            <a:srgbClr val="C35EA4"/>
          </p15:clr>
        </p15:guide>
        <p15:guide id="29" orient="horz" pos="763">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dirty="0">
                <a:solidFill>
                  <a:srgbClr val="505050"/>
                </a:solidFill>
              </a:rPr>
              <a:t>Microsoft Confidential</a:t>
            </a:r>
          </a:p>
        </p:txBody>
      </p:sp>
      <p:sp>
        <p:nvSpPr>
          <p:cNvPr id="5"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a:solidFill>
                  <a:srgbClr val="505050"/>
                </a:solidFill>
              </a:rPr>
              <a:pPr defTabSz="914367"/>
              <a:t>‹#›</a:t>
            </a:fld>
            <a:endParaRPr dirty="0">
              <a:solidFill>
                <a:srgbClr val="505050"/>
              </a:solidFill>
            </a:endParaRPr>
          </a:p>
        </p:txBody>
      </p:sp>
    </p:spTree>
    <p:extLst>
      <p:ext uri="{BB962C8B-B14F-4D97-AF65-F5344CB8AC3E}">
        <p14:creationId xmlns:p14="http://schemas.microsoft.com/office/powerpoint/2010/main" val="792393837"/>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 id="2147483780" r:id="rId14"/>
    <p:sldLayoutId id="2147483781" r:id="rId15"/>
    <p:sldLayoutId id="2147483782" r:id="rId16"/>
    <p:sldLayoutId id="2147483783" r:id="rId17"/>
    <p:sldLayoutId id="2147483784" r:id="rId18"/>
    <p:sldLayoutId id="2147483785" r:id="rId19"/>
    <p:sldLayoutId id="2147483786" r:id="rId20"/>
    <p:sldLayoutId id="2147483795" r:id="rId21"/>
    <p:sldLayoutId id="2147483796" r:id="rId22"/>
    <p:sldLayoutId id="2147483797" r:id="rId23"/>
    <p:sldLayoutId id="2147483799" r:id="rId24"/>
    <p:sldLayoutId id="2147483800" r:id="rId25"/>
    <p:sldLayoutId id="2147483809" r:id="rId26"/>
    <p:sldLayoutId id="2147483810" r:id="rId27"/>
    <p:sldLayoutId id="2147483812" r:id="rId28"/>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6.xml"/><Relationship Id="rId1" Type="http://schemas.openxmlformats.org/officeDocument/2006/relationships/slideLayout" Target="../slideLayouts/slideLayout3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3" Type="http://schemas.openxmlformats.org/officeDocument/2006/relationships/hyperlink" Target="https://azure.microsoft.com/en-us/documentation/articles/batch-dotnet-get-started/#step-1-create-storage-containers" TargetMode="External"/><Relationship Id="rId2" Type="http://schemas.openxmlformats.org/officeDocument/2006/relationships/notesSlide" Target="../notesSlides/notesSlide18.xml"/><Relationship Id="rId1" Type="http://schemas.openxmlformats.org/officeDocument/2006/relationships/slideLayout" Target="../slideLayouts/slideLayout16.xml"/><Relationship Id="rId6" Type="http://schemas.openxmlformats.org/officeDocument/2006/relationships/image" Target="../media/image15.png"/><Relationship Id="rId5" Type="http://schemas.openxmlformats.org/officeDocument/2006/relationships/hyperlink" Target="https://azure.microsoft.com/en-us/documentation/articles/batch-dotnet-get-started/#step-3-create-batch-pool" TargetMode="External"/><Relationship Id="rId4" Type="http://schemas.openxmlformats.org/officeDocument/2006/relationships/hyperlink" Target="https://azure.microsoft.com/en-us/documentation/articles/batch-dotnet-get-started/#step-2-upload-task-application-and-data-files"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s://azure.microsoft.com/en-us/documentation/articles/batch-dotnet-get-started/#step-4-create-batch-job" TargetMode="External"/><Relationship Id="rId2" Type="http://schemas.openxmlformats.org/officeDocument/2006/relationships/notesSlide" Target="../notesSlides/notesSlide19.xml"/><Relationship Id="rId1" Type="http://schemas.openxmlformats.org/officeDocument/2006/relationships/slideLayout" Target="../slideLayouts/slideLayout16.xml"/><Relationship Id="rId6" Type="http://schemas.openxmlformats.org/officeDocument/2006/relationships/hyperlink" Target="https://azure.microsoft.com/en-us/documentation/articles/batch-dotnet-get-started/#step-7-download-task-output" TargetMode="External"/><Relationship Id="rId5" Type="http://schemas.openxmlformats.org/officeDocument/2006/relationships/hyperlink" Target="https://azure.microsoft.com/en-us/documentation/articles/batch-dotnet-get-started/#step-6-monitor-tasks" TargetMode="External"/><Relationship Id="rId4" Type="http://schemas.openxmlformats.org/officeDocument/2006/relationships/hyperlink" Target="https://azure.microsoft.com/en-us/documentation/articles/batch-dotnet-get-started/#step-5-add-tasks-to-job" TargetMode="Externa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6.xml"/><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1.xml"/><Relationship Id="rId1" Type="http://schemas.openxmlformats.org/officeDocument/2006/relationships/slideLayout" Target="../slideLayouts/slideLayout16.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8" Type="http://schemas.openxmlformats.org/officeDocument/2006/relationships/hyperlink" Target="https://azure.microsoft.com/en-us/documentation/articles/hdinsight-use-hive/" TargetMode="External"/><Relationship Id="rId3" Type="http://schemas.openxmlformats.org/officeDocument/2006/relationships/hyperlink" Target="http://azure.microsoft.com/en-us/services/hdinsight/" TargetMode="External"/><Relationship Id="rId7" Type="http://schemas.openxmlformats.org/officeDocument/2006/relationships/hyperlink" Target="https://azure.microsoft.com/en-us/documentation/learning-paths/batch/" TargetMode="External"/><Relationship Id="rId2" Type="http://schemas.openxmlformats.org/officeDocument/2006/relationships/notesSlide" Target="../notesSlides/notesSlide33.xml"/><Relationship Id="rId1" Type="http://schemas.openxmlformats.org/officeDocument/2006/relationships/slideLayout" Target="../slideLayouts/slideLayout3.xml"/><Relationship Id="rId6" Type="http://schemas.openxmlformats.org/officeDocument/2006/relationships/hyperlink" Target="https://azure.microsoft.com/en-us/documentation/articles/hdinsight-hadoop-provision-linux-clusters/" TargetMode="External"/><Relationship Id="rId5" Type="http://schemas.openxmlformats.org/officeDocument/2006/relationships/hyperlink" Target="https://azure.microsoft.com/en-us/documentation/learning-paths/hdinsight-self-guided-hadoop-training/" TargetMode="External"/><Relationship Id="rId4" Type="http://schemas.openxmlformats.org/officeDocument/2006/relationships/hyperlink" Target="https://mva.microsoft.com/en-US/training-courses/design-and-implement-big-data-advanced-analytics-solutions-16531" TargetMode="External"/><Relationship Id="rId9" Type="http://schemas.openxmlformats.org/officeDocument/2006/relationships/hyperlink" Target="https://azure.microsoft.com/en-us/documentation/articles/hdinsight-hbase-overview/" TargetMode="Externa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37.xml"/><Relationship Id="rId1" Type="http://schemas.openxmlformats.org/officeDocument/2006/relationships/slideLayout" Target="../slideLayouts/slideLayout3.xml"/><Relationship Id="rId4" Type="http://schemas.openxmlformats.org/officeDocument/2006/relationships/image" Target="../media/image19.jpg"/></Relationships>
</file>

<file path=ppt/slides/_rels/slide45.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20.png"/><Relationship Id="rId7" Type="http://schemas.openxmlformats.org/officeDocument/2006/relationships/image" Target="../media/image23.png"/><Relationship Id="rId2" Type="http://schemas.openxmlformats.org/officeDocument/2006/relationships/notesSlide" Target="../notesSlides/notesSlide38.xml"/><Relationship Id="rId1" Type="http://schemas.openxmlformats.org/officeDocument/2006/relationships/slideLayout" Target="../slideLayouts/slideLayout3.xml"/><Relationship Id="rId6" Type="http://schemas.openxmlformats.org/officeDocument/2006/relationships/image" Target="../media/image22.png"/><Relationship Id="rId5" Type="http://schemas.openxmlformats.org/officeDocument/2006/relationships/image" Target="../media/image21.png"/><Relationship Id="rId4" Type="http://schemas.microsoft.com/office/2007/relationships/hdphoto" Target="../media/hdphoto1.wdp"/><Relationship Id="rId9" Type="http://schemas.openxmlformats.org/officeDocument/2006/relationships/image" Target="../media/image25.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solidFill>
            <a:srgbClr val="007233"/>
          </a:solidFill>
          <a:ln>
            <a:noFill/>
          </a:ln>
        </p:spPr>
        <p:txBody>
          <a:bodyPr>
            <a:normAutofit/>
          </a:bodyPr>
          <a:lstStyle/>
          <a:p>
            <a:pPr marL="914400" indent="-914400"/>
            <a:r>
              <a:rPr lang="en-US" dirty="0"/>
              <a:t>04 | Design big data batch processing and interactive solutions</a:t>
            </a:r>
          </a:p>
        </p:txBody>
      </p:sp>
      <p:sp>
        <p:nvSpPr>
          <p:cNvPr id="4" name="Subtitle 3"/>
          <p:cNvSpPr>
            <a:spLocks noGrp="1"/>
          </p:cNvSpPr>
          <p:nvPr>
            <p:ph type="subTitle" idx="1"/>
          </p:nvPr>
        </p:nvSpPr>
        <p:spPr>
          <a:xfrm>
            <a:off x="193270" y="5132437"/>
            <a:ext cx="8858451" cy="882601"/>
          </a:xfrm>
        </p:spPr>
        <p:txBody>
          <a:bodyPr/>
          <a:lstStyle/>
          <a:p>
            <a:r>
              <a:rPr lang="en-US" dirty="0"/>
              <a:t>Andy Roberts | Data Platform Specialist, Microsoft Northeast</a:t>
            </a:r>
          </a:p>
        </p:txBody>
      </p:sp>
    </p:spTree>
    <p:extLst>
      <p:ext uri="{BB962C8B-B14F-4D97-AF65-F5344CB8AC3E}">
        <p14:creationId xmlns:p14="http://schemas.microsoft.com/office/powerpoint/2010/main" val="16301964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ialization and compression</a:t>
            </a:r>
          </a:p>
        </p:txBody>
      </p:sp>
      <p:sp>
        <p:nvSpPr>
          <p:cNvPr id="3" name="Slide Number Placeholder 2"/>
          <p:cNvSpPr>
            <a:spLocks noGrp="1"/>
          </p:cNvSpPr>
          <p:nvPr>
            <p:ph type="sldNum" sz="quarter" idx="4294967295"/>
          </p:nvPr>
        </p:nvSpPr>
        <p:spPr>
          <a:xfrm>
            <a:off x="11636375" y="6437313"/>
            <a:ext cx="555625" cy="134937"/>
          </a:xfrm>
          <a:prstGeom prst="rect">
            <a:avLst/>
          </a:prstGeom>
        </p:spPr>
        <p:txBody>
          <a:bodyPr/>
          <a:lstStyle/>
          <a:p>
            <a:pPr defTabSz="896386" fontAlgn="auto">
              <a:spcBef>
                <a:spcPts val="0"/>
              </a:spcBef>
              <a:spcAft>
                <a:spcPts val="0"/>
              </a:spcAft>
              <a:defRPr/>
            </a:pPr>
            <a:fld id="{F8A0AC42-AA1D-4944-8D96-660DE70C7E1B}" type="slidenum">
              <a:rPr lang="en-IN" sz="1765" kern="0">
                <a:solidFill>
                  <a:sysClr val="windowText" lastClr="000000"/>
                </a:solidFill>
              </a:rPr>
              <a:pPr defTabSz="896386" fontAlgn="auto">
                <a:spcBef>
                  <a:spcPts val="0"/>
                </a:spcBef>
                <a:spcAft>
                  <a:spcPts val="0"/>
                </a:spcAft>
                <a:defRPr/>
              </a:pPr>
              <a:t>10</a:t>
            </a:fld>
            <a:endParaRPr lang="en-IN" sz="1765" kern="0" dirty="0">
              <a:solidFill>
                <a:sysClr val="windowText" lastClr="000000"/>
              </a:solidFill>
            </a:endParaRPr>
          </a:p>
        </p:txBody>
      </p:sp>
      <p:sp>
        <p:nvSpPr>
          <p:cNvPr id="15" name="Rectangle 14"/>
          <p:cNvSpPr/>
          <p:nvPr/>
        </p:nvSpPr>
        <p:spPr>
          <a:xfrm>
            <a:off x="460663" y="1279453"/>
            <a:ext cx="11312696" cy="452590"/>
          </a:xfrm>
          <a:prstGeom prst="rect">
            <a:avLst/>
          </a:prstGeom>
          <a:noFill/>
        </p:spPr>
        <p:txBody>
          <a:bodyPr wrap="square" tIns="0" rIns="0" bIns="0" anchor="ctr">
            <a:noAutofit/>
          </a:bodyPr>
          <a:lstStyle/>
          <a:p>
            <a:pPr marL="3112" lvl="1" indent="-3112" defTabSz="896386">
              <a:spcBef>
                <a:spcPts val="1176"/>
              </a:spcBef>
            </a:pPr>
            <a:r>
              <a:rPr lang="en-US" sz="3200" kern="0" dirty="0">
                <a:latin typeface="Segoe UI Light" panose="020B0502040204020203" pitchFamily="34" charset="0"/>
                <a:ea typeface="Segoe UI Light" panose="020B0502040204020203" pitchFamily="34" charset="0"/>
                <a:cs typeface="Segoe UI Light" panose="020B0502040204020203" pitchFamily="34" charset="0"/>
              </a:rPr>
              <a:t>Tools for Avro serialization and compression</a:t>
            </a:r>
          </a:p>
        </p:txBody>
      </p:sp>
      <p:graphicFrame>
        <p:nvGraphicFramePr>
          <p:cNvPr id="18" name="Table 17"/>
          <p:cNvGraphicFramePr>
            <a:graphicFrameLocks noGrp="1"/>
          </p:cNvGraphicFramePr>
          <p:nvPr>
            <p:extLst/>
          </p:nvPr>
        </p:nvGraphicFramePr>
        <p:xfrm>
          <a:off x="455995" y="4655982"/>
          <a:ext cx="11317364" cy="1684448"/>
        </p:xfrm>
        <a:graphic>
          <a:graphicData uri="http://schemas.openxmlformats.org/drawingml/2006/table">
            <a:tbl>
              <a:tblPr firstRow="1" firstCol="1" bandRow="1"/>
              <a:tblGrid>
                <a:gridCol w="1290166">
                  <a:extLst>
                    <a:ext uri="{9D8B030D-6E8A-4147-A177-3AD203B41FA5}">
                      <a16:colId xmlns:a16="http://schemas.microsoft.com/office/drawing/2014/main" val="20000"/>
                    </a:ext>
                  </a:extLst>
                </a:gridCol>
                <a:gridCol w="6198727">
                  <a:extLst>
                    <a:ext uri="{9D8B030D-6E8A-4147-A177-3AD203B41FA5}">
                      <a16:colId xmlns:a16="http://schemas.microsoft.com/office/drawing/2014/main" val="20001"/>
                    </a:ext>
                  </a:extLst>
                </a:gridCol>
                <a:gridCol w="2017242">
                  <a:extLst>
                    <a:ext uri="{9D8B030D-6E8A-4147-A177-3AD203B41FA5}">
                      <a16:colId xmlns:a16="http://schemas.microsoft.com/office/drawing/2014/main" val="20002"/>
                    </a:ext>
                  </a:extLst>
                </a:gridCol>
                <a:gridCol w="1811229">
                  <a:extLst>
                    <a:ext uri="{9D8B030D-6E8A-4147-A177-3AD203B41FA5}">
                      <a16:colId xmlns:a16="http://schemas.microsoft.com/office/drawing/2014/main" val="20003"/>
                    </a:ext>
                  </a:extLst>
                </a:gridCol>
              </a:tblGrid>
              <a:tr h="358570">
                <a:tc>
                  <a:txBody>
                    <a:bodyPr/>
                    <a:lstStyle/>
                    <a:p>
                      <a:pPr marL="0" marR="0" algn="ctr">
                        <a:lnSpc>
                          <a:spcPct val="100000"/>
                        </a:lnSpc>
                        <a:spcBef>
                          <a:spcPts val="300"/>
                        </a:spcBef>
                        <a:spcAft>
                          <a:spcPts val="300"/>
                        </a:spcAft>
                      </a:pPr>
                      <a:r>
                        <a:rPr lang="en-US" sz="1800" dirty="0">
                          <a:solidFill>
                            <a:schemeClr val="bg1"/>
                          </a:solidFill>
                          <a:effectLst/>
                        </a:rPr>
                        <a:t>Format</a:t>
                      </a:r>
                      <a:endParaRPr lang="en-US" sz="18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12700" cmpd="sng">
                      <a:noFill/>
                      <a:prstDash val="solid"/>
                    </a:lnL>
                    <a:lnR w="9525" cap="flat" cmpd="sng" algn="ctr">
                      <a:solidFill>
                        <a:schemeClr val="bg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1"/>
                    </a:solidFill>
                  </a:tcPr>
                </a:tc>
                <a:tc>
                  <a:txBody>
                    <a:bodyPr/>
                    <a:lstStyle/>
                    <a:p>
                      <a:pPr marL="0" marR="0" algn="ctr">
                        <a:lnSpc>
                          <a:spcPct val="100000"/>
                        </a:lnSpc>
                        <a:spcBef>
                          <a:spcPts val="300"/>
                        </a:spcBef>
                        <a:spcAft>
                          <a:spcPts val="300"/>
                        </a:spcAft>
                      </a:pPr>
                      <a:r>
                        <a:rPr lang="en-US" sz="1800" dirty="0">
                          <a:solidFill>
                            <a:schemeClr val="bg1"/>
                          </a:solidFill>
                          <a:effectLst/>
                        </a:rPr>
                        <a:t>Codec</a:t>
                      </a:r>
                      <a:endParaRPr lang="en-US" sz="18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1"/>
                    </a:solidFill>
                  </a:tcPr>
                </a:tc>
                <a:tc>
                  <a:txBody>
                    <a:bodyPr/>
                    <a:lstStyle/>
                    <a:p>
                      <a:pPr marL="0" marR="0" algn="ctr">
                        <a:lnSpc>
                          <a:spcPct val="100000"/>
                        </a:lnSpc>
                        <a:spcBef>
                          <a:spcPts val="300"/>
                        </a:spcBef>
                        <a:spcAft>
                          <a:spcPts val="300"/>
                        </a:spcAft>
                      </a:pPr>
                      <a:r>
                        <a:rPr lang="en-US" sz="1800" dirty="0">
                          <a:solidFill>
                            <a:schemeClr val="bg1"/>
                          </a:solidFill>
                          <a:effectLst/>
                        </a:rPr>
                        <a:t>Extension</a:t>
                      </a:r>
                      <a:endParaRPr lang="en-US" sz="18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1"/>
                    </a:solidFill>
                  </a:tcPr>
                </a:tc>
                <a:tc>
                  <a:txBody>
                    <a:bodyPr/>
                    <a:lstStyle/>
                    <a:p>
                      <a:pPr marL="0" marR="0" algn="ctr">
                        <a:lnSpc>
                          <a:spcPct val="100000"/>
                        </a:lnSpc>
                        <a:spcBef>
                          <a:spcPts val="300"/>
                        </a:spcBef>
                        <a:spcAft>
                          <a:spcPts val="300"/>
                        </a:spcAft>
                      </a:pPr>
                      <a:r>
                        <a:rPr lang="en-US" sz="1800" dirty="0" err="1">
                          <a:solidFill>
                            <a:schemeClr val="bg1"/>
                          </a:solidFill>
                          <a:effectLst/>
                        </a:rPr>
                        <a:t>Splittable</a:t>
                      </a:r>
                      <a:endParaRPr lang="en-US" sz="18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9525" cap="flat" cmpd="sng" algn="ctr">
                      <a:solidFill>
                        <a:schemeClr val="bg1"/>
                      </a:solidFill>
                      <a:prstDash val="solid"/>
                      <a:round/>
                      <a:headEnd type="none" w="med" len="med"/>
                      <a:tailEnd type="none" w="med" len="me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328689">
                <a:tc>
                  <a:txBody>
                    <a:bodyPr/>
                    <a:lstStyle/>
                    <a:p>
                      <a:pPr marL="0" marR="0" algn="ctr">
                        <a:lnSpc>
                          <a:spcPct val="100000"/>
                        </a:lnSpc>
                        <a:spcBef>
                          <a:spcPts val="300"/>
                        </a:spcBef>
                        <a:spcAft>
                          <a:spcPts val="300"/>
                        </a:spcAft>
                      </a:pPr>
                      <a:r>
                        <a:rPr lang="en-US" sz="1600" dirty="0">
                          <a:solidFill>
                            <a:schemeClr val="tx2"/>
                          </a:solidFill>
                          <a:effectLst/>
                        </a:rPr>
                        <a:t>DEFLATE</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12700" cmpd="sng">
                      <a:noFill/>
                      <a:prstDash val="solid"/>
                    </a:lnL>
                    <a:lnR w="9525" cap="flat" cmpd="sng" algn="ctr">
                      <a:solidFill>
                        <a:schemeClr val="bg1">
                          <a:lumMod val="75000"/>
                        </a:schemeClr>
                      </a:solidFill>
                      <a:prstDash val="solid"/>
                      <a:round/>
                      <a:headEnd type="none" w="med" len="med"/>
                      <a:tailEnd type="none" w="med" len="med"/>
                    </a:lnR>
                    <a:lnT w="12700" cmpd="sng">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0000"/>
                        </a:lnSpc>
                        <a:spcBef>
                          <a:spcPts val="300"/>
                        </a:spcBef>
                        <a:spcAft>
                          <a:spcPts val="300"/>
                        </a:spcAft>
                      </a:pPr>
                      <a:r>
                        <a:rPr lang="en-US" sz="1600" dirty="0" err="1">
                          <a:solidFill>
                            <a:schemeClr val="tx2"/>
                          </a:solidFill>
                          <a:effectLst/>
                        </a:rPr>
                        <a:t>org.apache.hadoop.io.compress.DefaultCodec</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300"/>
                        </a:spcBef>
                        <a:spcAft>
                          <a:spcPts val="300"/>
                        </a:spcAft>
                      </a:pPr>
                      <a:r>
                        <a:rPr lang="en-US" sz="1600" dirty="0">
                          <a:solidFill>
                            <a:schemeClr val="tx2"/>
                          </a:solidFill>
                          <a:effectLst/>
                        </a:rPr>
                        <a:t>.deflate</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300"/>
                        </a:spcBef>
                        <a:spcAft>
                          <a:spcPts val="300"/>
                        </a:spcAft>
                      </a:pPr>
                      <a:r>
                        <a:rPr lang="en-US" sz="1600" dirty="0">
                          <a:solidFill>
                            <a:schemeClr val="tx2"/>
                          </a:solidFill>
                          <a:effectLst/>
                        </a:rPr>
                        <a:t>No</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9525" cap="flat" cmpd="sng" algn="ctr">
                      <a:solidFill>
                        <a:schemeClr val="bg1">
                          <a:lumMod val="75000"/>
                        </a:schemeClr>
                      </a:solidFill>
                      <a:prstDash val="solid"/>
                      <a:round/>
                      <a:headEnd type="none" w="med" len="med"/>
                      <a:tailEnd type="none" w="med" len="med"/>
                    </a:lnL>
                    <a:lnR w="12700" cmpd="sng">
                      <a:noFill/>
                      <a:prstDash val="solid"/>
                    </a:lnR>
                    <a:lnT w="12700" cmpd="sng">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328689">
                <a:tc>
                  <a:txBody>
                    <a:bodyPr/>
                    <a:lstStyle/>
                    <a:p>
                      <a:pPr marL="0" marR="0" algn="ctr">
                        <a:lnSpc>
                          <a:spcPct val="100000"/>
                        </a:lnSpc>
                        <a:spcBef>
                          <a:spcPts val="300"/>
                        </a:spcBef>
                        <a:spcAft>
                          <a:spcPts val="300"/>
                        </a:spcAft>
                      </a:pPr>
                      <a:r>
                        <a:rPr lang="en-US" sz="1600" dirty="0" err="1">
                          <a:solidFill>
                            <a:schemeClr val="tx2"/>
                          </a:solidFill>
                          <a:effectLst/>
                        </a:rPr>
                        <a:t>GZip</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12700" cmpd="sng">
                      <a:noFill/>
                      <a:prstDash val="soli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0000"/>
                        </a:lnSpc>
                        <a:spcBef>
                          <a:spcPts val="300"/>
                        </a:spcBef>
                        <a:spcAft>
                          <a:spcPts val="300"/>
                        </a:spcAft>
                      </a:pPr>
                      <a:r>
                        <a:rPr lang="en-US" sz="1600" dirty="0" err="1">
                          <a:solidFill>
                            <a:schemeClr val="tx2"/>
                          </a:solidFill>
                          <a:effectLst/>
                        </a:rPr>
                        <a:t>org.apache.hadoop.io.compress.GzipCodec</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300"/>
                        </a:spcBef>
                        <a:spcAft>
                          <a:spcPts val="300"/>
                        </a:spcAft>
                      </a:pPr>
                      <a:r>
                        <a:rPr lang="en-US" sz="1600" dirty="0">
                          <a:solidFill>
                            <a:schemeClr val="tx2"/>
                          </a:solidFill>
                          <a:effectLst/>
                        </a:rPr>
                        <a:t>.</a:t>
                      </a:r>
                      <a:r>
                        <a:rPr lang="en-US" sz="1600" dirty="0" err="1">
                          <a:solidFill>
                            <a:schemeClr val="tx2"/>
                          </a:solidFill>
                          <a:effectLst/>
                        </a:rPr>
                        <a:t>gz</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300"/>
                        </a:spcBef>
                        <a:spcAft>
                          <a:spcPts val="300"/>
                        </a:spcAft>
                      </a:pPr>
                      <a:r>
                        <a:rPr lang="en-US" sz="1600" dirty="0">
                          <a:solidFill>
                            <a:schemeClr val="tx2"/>
                          </a:solidFill>
                          <a:effectLst/>
                        </a:rPr>
                        <a:t>No</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9525" cap="flat" cmpd="sng" algn="ctr">
                      <a:solidFill>
                        <a:schemeClr val="bg1">
                          <a:lumMod val="75000"/>
                        </a:schemeClr>
                      </a:solidFill>
                      <a:prstDash val="solid"/>
                      <a:round/>
                      <a:headEnd type="none" w="med" len="med"/>
                      <a:tailEnd type="none" w="med" len="med"/>
                    </a:lnL>
                    <a:lnR w="12700" cmpd="sng">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642438">
                <a:tc>
                  <a:txBody>
                    <a:bodyPr/>
                    <a:lstStyle/>
                    <a:p>
                      <a:pPr marL="0" marR="0" algn="ctr">
                        <a:lnSpc>
                          <a:spcPct val="100000"/>
                        </a:lnSpc>
                        <a:spcBef>
                          <a:spcPts val="300"/>
                        </a:spcBef>
                        <a:spcAft>
                          <a:spcPts val="300"/>
                        </a:spcAft>
                      </a:pPr>
                      <a:r>
                        <a:rPr lang="en-US" sz="1600" dirty="0">
                          <a:solidFill>
                            <a:schemeClr val="tx2"/>
                          </a:solidFill>
                          <a:effectLst/>
                        </a:rPr>
                        <a:t>BZip2</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12700" cmpd="sng">
                      <a:noFill/>
                      <a:prstDash val="soli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lumMod val="95000"/>
                      </a:schemeClr>
                    </a:solidFill>
                  </a:tcPr>
                </a:tc>
                <a:tc>
                  <a:txBody>
                    <a:bodyPr/>
                    <a:lstStyle/>
                    <a:p>
                      <a:pPr marL="0" marR="0">
                        <a:lnSpc>
                          <a:spcPct val="100000"/>
                        </a:lnSpc>
                        <a:spcBef>
                          <a:spcPts val="300"/>
                        </a:spcBef>
                        <a:spcAft>
                          <a:spcPts val="300"/>
                        </a:spcAft>
                      </a:pPr>
                      <a:r>
                        <a:rPr lang="en-US" sz="1600" dirty="0">
                          <a:solidFill>
                            <a:schemeClr val="tx2"/>
                          </a:solidFill>
                          <a:effectLst/>
                        </a:rPr>
                        <a:t>org.apache.hadoop.io.compress.BZip2Codec</a:t>
                      </a:r>
                    </a:p>
                    <a:p>
                      <a:pPr marL="0" marR="0">
                        <a:lnSpc>
                          <a:spcPct val="100000"/>
                        </a:lnSpc>
                        <a:spcBef>
                          <a:spcPts val="300"/>
                        </a:spcBef>
                        <a:spcAft>
                          <a:spcPts val="300"/>
                        </a:spcAft>
                      </a:pPr>
                      <a:r>
                        <a:rPr lang="en-US" sz="1600" dirty="0">
                          <a:solidFill>
                            <a:schemeClr val="tx2"/>
                          </a:solidFill>
                          <a:effectLst/>
                        </a:rPr>
                        <a:t>(this codec is not enabled by default in configuration)</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300"/>
                        </a:spcBef>
                        <a:spcAft>
                          <a:spcPts val="300"/>
                        </a:spcAft>
                      </a:pPr>
                      <a:r>
                        <a:rPr lang="en-US" sz="1600" dirty="0">
                          <a:solidFill>
                            <a:schemeClr val="tx2"/>
                          </a:solidFill>
                          <a:effectLst/>
                        </a:rPr>
                        <a:t>.bz2</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300"/>
                        </a:spcBef>
                        <a:spcAft>
                          <a:spcPts val="300"/>
                        </a:spcAft>
                      </a:pPr>
                      <a:r>
                        <a:rPr lang="en-US" sz="1600" dirty="0">
                          <a:solidFill>
                            <a:schemeClr val="tx2"/>
                          </a:solidFill>
                          <a:effectLst/>
                        </a:rPr>
                        <a:t>Yes</a:t>
                      </a:r>
                      <a:endParaRPr lang="en-US" sz="16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89642" marR="89642" marT="44821" marB="44821" anchor="ctr">
                    <a:lnL w="9525" cap="flat" cmpd="sng" algn="ctr">
                      <a:solidFill>
                        <a:schemeClr val="bg1">
                          <a:lumMod val="75000"/>
                        </a:schemeClr>
                      </a:solidFill>
                      <a:prstDash val="solid"/>
                      <a:round/>
                      <a:headEnd type="none" w="med" len="med"/>
                      <a:tailEnd type="none" w="med" len="med"/>
                    </a:lnL>
                    <a:lnR w="12700" cmpd="sng">
                      <a:noFill/>
                      <a:prstDash val="solid"/>
                    </a:lnR>
                    <a:lnT w="952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bl>
          </a:graphicData>
        </a:graphic>
      </p:graphicFrame>
      <p:sp>
        <p:nvSpPr>
          <p:cNvPr id="19" name="Rectangle 18"/>
          <p:cNvSpPr/>
          <p:nvPr/>
        </p:nvSpPr>
        <p:spPr>
          <a:xfrm>
            <a:off x="460663" y="4105700"/>
            <a:ext cx="11312696" cy="452590"/>
          </a:xfrm>
          <a:prstGeom prst="rect">
            <a:avLst/>
          </a:prstGeom>
          <a:noFill/>
        </p:spPr>
        <p:txBody>
          <a:bodyPr wrap="square" tIns="0" rIns="0" bIns="0" anchor="ctr">
            <a:noAutofit/>
          </a:bodyPr>
          <a:lstStyle/>
          <a:p>
            <a:pPr marL="3112" lvl="1" indent="-3112" defTabSz="896386">
              <a:spcBef>
                <a:spcPts val="1176"/>
              </a:spcBef>
            </a:pPr>
            <a:r>
              <a:rPr lang="en-US" sz="3200" kern="0" dirty="0">
                <a:latin typeface="Segoe UI Light" panose="020B0502040204020203" pitchFamily="34" charset="0"/>
                <a:ea typeface="Segoe UI Light" panose="020B0502040204020203" pitchFamily="34" charset="0"/>
                <a:cs typeface="Segoe UI Light" panose="020B0502040204020203" pitchFamily="34" charset="0"/>
              </a:rPr>
              <a:t>HDInsight compression libraries</a:t>
            </a:r>
            <a:r>
              <a:rPr lang="en-US" sz="2745" kern="0" dirty="0">
                <a:solidFill>
                  <a:srgbClr val="68217A"/>
                </a:solidFill>
                <a:latin typeface="Segoe UI Light"/>
              </a:rPr>
              <a:t> </a:t>
            </a:r>
          </a:p>
        </p:txBody>
      </p:sp>
      <p:sp>
        <p:nvSpPr>
          <p:cNvPr id="88" name="Rectangle 87"/>
          <p:cNvSpPr/>
          <p:nvPr/>
        </p:nvSpPr>
        <p:spPr>
          <a:xfrm>
            <a:off x="460662" y="1821131"/>
            <a:ext cx="2778917" cy="2144790"/>
          </a:xfrm>
          <a:prstGeom prst="rect">
            <a:avLst/>
          </a:prstGeom>
          <a:solidFill>
            <a:schemeClr val="accent3"/>
          </a:solidFill>
        </p:spPr>
        <p:txBody>
          <a:bodyPr wrap="square">
            <a:noAutofit/>
          </a:bodyPr>
          <a:lstStyle/>
          <a:p>
            <a:pPr marL="0" lvl="1" defTabSz="913770" fontAlgn="base">
              <a:spcBef>
                <a:spcPts val="588"/>
              </a:spcBef>
              <a:buClr>
                <a:srgbClr val="505050"/>
              </a:buClr>
            </a:pPr>
            <a:endParaRPr lang="en-US" sz="1765" kern="0" dirty="0">
              <a:solidFill>
                <a:srgbClr val="FFFFFF"/>
              </a:solidFill>
              <a:ea typeface="Segoe UI" pitchFamily="34" charset="0"/>
              <a:cs typeface="Segoe UI" pitchFamily="34" charset="0"/>
            </a:endParaRPr>
          </a:p>
        </p:txBody>
      </p:sp>
      <p:sp>
        <p:nvSpPr>
          <p:cNvPr id="89" name="Rectangle 88"/>
          <p:cNvSpPr/>
          <p:nvPr/>
        </p:nvSpPr>
        <p:spPr>
          <a:xfrm>
            <a:off x="3305256" y="1821131"/>
            <a:ext cx="2778917" cy="2144790"/>
          </a:xfrm>
          <a:prstGeom prst="rect">
            <a:avLst/>
          </a:prstGeom>
          <a:solidFill>
            <a:schemeClr val="accent3"/>
          </a:solidFill>
        </p:spPr>
        <p:txBody>
          <a:bodyPr wrap="square">
            <a:noAutofit/>
          </a:bodyPr>
          <a:lstStyle/>
          <a:p>
            <a:pPr marL="0" lvl="1" defTabSz="913770" fontAlgn="base">
              <a:spcBef>
                <a:spcPts val="588"/>
              </a:spcBef>
              <a:buClr>
                <a:srgbClr val="505050"/>
              </a:buClr>
            </a:pPr>
            <a:endParaRPr lang="en-US" sz="1765" kern="0" dirty="0">
              <a:solidFill>
                <a:srgbClr val="FFFFFF"/>
              </a:solidFill>
              <a:ea typeface="Segoe UI" pitchFamily="34" charset="0"/>
              <a:cs typeface="Segoe UI" pitchFamily="34" charset="0"/>
            </a:endParaRPr>
          </a:p>
        </p:txBody>
      </p:sp>
      <p:sp>
        <p:nvSpPr>
          <p:cNvPr id="90" name="Rectangle 89"/>
          <p:cNvSpPr/>
          <p:nvPr/>
        </p:nvSpPr>
        <p:spPr>
          <a:xfrm>
            <a:off x="6149849" y="1821131"/>
            <a:ext cx="2778917" cy="2144790"/>
          </a:xfrm>
          <a:prstGeom prst="rect">
            <a:avLst/>
          </a:prstGeom>
          <a:solidFill>
            <a:schemeClr val="accent3"/>
          </a:solidFill>
        </p:spPr>
        <p:txBody>
          <a:bodyPr wrap="square">
            <a:noAutofit/>
          </a:bodyPr>
          <a:lstStyle/>
          <a:p>
            <a:pPr marL="0" lvl="1" defTabSz="913770" fontAlgn="base">
              <a:spcBef>
                <a:spcPts val="588"/>
              </a:spcBef>
              <a:buClr>
                <a:srgbClr val="505050"/>
              </a:buClr>
            </a:pPr>
            <a:endParaRPr lang="en-US" sz="1765" kern="0" dirty="0">
              <a:solidFill>
                <a:srgbClr val="FFFFFF"/>
              </a:solidFill>
              <a:ea typeface="Segoe UI" pitchFamily="34" charset="0"/>
              <a:cs typeface="Segoe UI" pitchFamily="34" charset="0"/>
            </a:endParaRPr>
          </a:p>
        </p:txBody>
      </p:sp>
      <p:sp>
        <p:nvSpPr>
          <p:cNvPr id="91" name="Rectangle 90"/>
          <p:cNvSpPr/>
          <p:nvPr/>
        </p:nvSpPr>
        <p:spPr>
          <a:xfrm>
            <a:off x="8994441" y="1821131"/>
            <a:ext cx="2778917" cy="2144790"/>
          </a:xfrm>
          <a:prstGeom prst="rect">
            <a:avLst/>
          </a:prstGeom>
          <a:solidFill>
            <a:schemeClr val="accent3"/>
          </a:solidFill>
        </p:spPr>
        <p:txBody>
          <a:bodyPr wrap="square">
            <a:noAutofit/>
          </a:bodyPr>
          <a:lstStyle/>
          <a:p>
            <a:pPr marL="0" lvl="1" defTabSz="913770" fontAlgn="base">
              <a:spcBef>
                <a:spcPts val="588"/>
              </a:spcBef>
              <a:buClr>
                <a:srgbClr val="505050"/>
              </a:buClr>
            </a:pPr>
            <a:endParaRPr lang="en-US" sz="1765" kern="0" dirty="0">
              <a:solidFill>
                <a:srgbClr val="FFFFFF"/>
              </a:solidFill>
              <a:ea typeface="Segoe UI" pitchFamily="34" charset="0"/>
              <a:cs typeface="Segoe UI" pitchFamily="34" charset="0"/>
            </a:endParaRPr>
          </a:p>
        </p:txBody>
      </p:sp>
      <p:sp>
        <p:nvSpPr>
          <p:cNvPr id="92" name="Round Diagonal Corner Rectangle 53"/>
          <p:cNvSpPr/>
          <p:nvPr/>
        </p:nvSpPr>
        <p:spPr bwMode="auto">
          <a:xfrm>
            <a:off x="6894528" y="2159601"/>
            <a:ext cx="1289560" cy="1467851"/>
          </a:xfrm>
          <a:custGeom>
            <a:avLst/>
            <a:gdLst/>
            <a:ahLst/>
            <a:cxnLst/>
            <a:rect l="l" t="t" r="r" b="b"/>
            <a:pathLst>
              <a:path w="1069848" h="1217762">
                <a:moveTo>
                  <a:pt x="859964" y="887952"/>
                </a:moveTo>
                <a:cubicBezTo>
                  <a:pt x="859964" y="887952"/>
                  <a:pt x="859964" y="887952"/>
                  <a:pt x="859964" y="887953"/>
                </a:cubicBezTo>
                <a:lnTo>
                  <a:pt x="859964" y="887953"/>
                </a:lnTo>
                <a:close/>
                <a:moveTo>
                  <a:pt x="823054" y="851043"/>
                </a:moveTo>
                <a:lnTo>
                  <a:pt x="246792" y="851043"/>
                </a:lnTo>
                <a:cubicBezTo>
                  <a:pt x="226407" y="851043"/>
                  <a:pt x="209882" y="867568"/>
                  <a:pt x="209882" y="887953"/>
                </a:cubicBezTo>
                <a:lnTo>
                  <a:pt x="209883" y="887953"/>
                </a:lnTo>
                <a:cubicBezTo>
                  <a:pt x="209883" y="908338"/>
                  <a:pt x="226408" y="924863"/>
                  <a:pt x="246793" y="924863"/>
                </a:cubicBezTo>
                <a:lnTo>
                  <a:pt x="823054" y="924862"/>
                </a:lnTo>
                <a:cubicBezTo>
                  <a:pt x="843439" y="924862"/>
                  <a:pt x="859964" y="908337"/>
                  <a:pt x="859964" y="887953"/>
                </a:cubicBezTo>
                <a:cubicBezTo>
                  <a:pt x="859964" y="867568"/>
                  <a:pt x="843439" y="851043"/>
                  <a:pt x="823054" y="851043"/>
                </a:cubicBezTo>
                <a:close/>
                <a:moveTo>
                  <a:pt x="859964" y="716502"/>
                </a:moveTo>
                <a:lnTo>
                  <a:pt x="859964" y="716503"/>
                </a:lnTo>
                <a:lnTo>
                  <a:pt x="859964" y="716503"/>
                </a:lnTo>
                <a:close/>
                <a:moveTo>
                  <a:pt x="823054" y="679593"/>
                </a:moveTo>
                <a:lnTo>
                  <a:pt x="246792" y="679593"/>
                </a:lnTo>
                <a:cubicBezTo>
                  <a:pt x="226407" y="679593"/>
                  <a:pt x="209882" y="696118"/>
                  <a:pt x="209882" y="716503"/>
                </a:cubicBezTo>
                <a:lnTo>
                  <a:pt x="209883" y="716503"/>
                </a:lnTo>
                <a:cubicBezTo>
                  <a:pt x="209883" y="736888"/>
                  <a:pt x="226408" y="753413"/>
                  <a:pt x="246793" y="753413"/>
                </a:cubicBezTo>
                <a:lnTo>
                  <a:pt x="823054" y="753412"/>
                </a:lnTo>
                <a:cubicBezTo>
                  <a:pt x="843439" y="753412"/>
                  <a:pt x="859964" y="736887"/>
                  <a:pt x="859964" y="716503"/>
                </a:cubicBezTo>
                <a:cubicBezTo>
                  <a:pt x="859964" y="696118"/>
                  <a:pt x="843439" y="679593"/>
                  <a:pt x="823054" y="679593"/>
                </a:cubicBezTo>
                <a:close/>
                <a:moveTo>
                  <a:pt x="859964" y="545051"/>
                </a:moveTo>
                <a:lnTo>
                  <a:pt x="859964" y="545052"/>
                </a:lnTo>
                <a:lnTo>
                  <a:pt x="859964" y="545052"/>
                </a:lnTo>
                <a:close/>
                <a:moveTo>
                  <a:pt x="823054" y="508142"/>
                </a:moveTo>
                <a:lnTo>
                  <a:pt x="246792" y="508142"/>
                </a:lnTo>
                <a:cubicBezTo>
                  <a:pt x="226407" y="508142"/>
                  <a:pt x="209882" y="524667"/>
                  <a:pt x="209882" y="545052"/>
                </a:cubicBezTo>
                <a:lnTo>
                  <a:pt x="209883" y="545052"/>
                </a:lnTo>
                <a:cubicBezTo>
                  <a:pt x="209883" y="565437"/>
                  <a:pt x="226408" y="581962"/>
                  <a:pt x="246793" y="581962"/>
                </a:cubicBezTo>
                <a:lnTo>
                  <a:pt x="823054" y="581961"/>
                </a:lnTo>
                <a:cubicBezTo>
                  <a:pt x="843439" y="581961"/>
                  <a:pt x="859964" y="565436"/>
                  <a:pt x="859964" y="545052"/>
                </a:cubicBezTo>
                <a:cubicBezTo>
                  <a:pt x="859964" y="524667"/>
                  <a:pt x="843439" y="508142"/>
                  <a:pt x="823054" y="508142"/>
                </a:cubicBezTo>
                <a:close/>
                <a:moveTo>
                  <a:pt x="607552" y="375982"/>
                </a:moveTo>
                <a:lnTo>
                  <a:pt x="607552" y="375983"/>
                </a:lnTo>
                <a:lnTo>
                  <a:pt x="607552" y="375983"/>
                </a:lnTo>
                <a:close/>
                <a:moveTo>
                  <a:pt x="570642" y="339073"/>
                </a:moveTo>
                <a:lnTo>
                  <a:pt x="246792" y="339073"/>
                </a:lnTo>
                <a:cubicBezTo>
                  <a:pt x="226407" y="339073"/>
                  <a:pt x="209882" y="355598"/>
                  <a:pt x="209882" y="375983"/>
                </a:cubicBezTo>
                <a:lnTo>
                  <a:pt x="209883" y="375983"/>
                </a:lnTo>
                <a:cubicBezTo>
                  <a:pt x="209883" y="396368"/>
                  <a:pt x="226408" y="412893"/>
                  <a:pt x="246793" y="412893"/>
                </a:cubicBezTo>
                <a:lnTo>
                  <a:pt x="570642" y="412892"/>
                </a:lnTo>
                <a:cubicBezTo>
                  <a:pt x="591027" y="412892"/>
                  <a:pt x="607552" y="396367"/>
                  <a:pt x="607552" y="375983"/>
                </a:cubicBezTo>
                <a:cubicBezTo>
                  <a:pt x="607552" y="355598"/>
                  <a:pt x="591027" y="339073"/>
                  <a:pt x="570642" y="339073"/>
                </a:cubicBezTo>
                <a:close/>
                <a:moveTo>
                  <a:pt x="679213" y="74747"/>
                </a:moveTo>
                <a:lnTo>
                  <a:pt x="679213" y="291168"/>
                </a:lnTo>
                <a:cubicBezTo>
                  <a:pt x="679213" y="325515"/>
                  <a:pt x="707057" y="353359"/>
                  <a:pt x="741404" y="353359"/>
                </a:cubicBezTo>
                <a:lnTo>
                  <a:pt x="992124" y="353359"/>
                </a:lnTo>
                <a:lnTo>
                  <a:pt x="992124" y="1044200"/>
                </a:lnTo>
                <a:cubicBezTo>
                  <a:pt x="992124" y="1097470"/>
                  <a:pt x="971294" y="1150179"/>
                  <a:pt x="897731" y="1140654"/>
                </a:cubicBezTo>
                <a:lnTo>
                  <a:pt x="77724" y="1140654"/>
                </a:lnTo>
                <a:lnTo>
                  <a:pt x="77724" y="173562"/>
                </a:lnTo>
                <a:cubicBezTo>
                  <a:pt x="80105" y="89336"/>
                  <a:pt x="119986" y="77108"/>
                  <a:pt x="172117" y="77108"/>
                </a:cubicBezTo>
                <a:close/>
                <a:moveTo>
                  <a:pt x="733418" y="0"/>
                </a:moveTo>
                <a:lnTo>
                  <a:pt x="110440" y="0"/>
                </a:lnTo>
                <a:cubicBezTo>
                  <a:pt x="49446" y="0"/>
                  <a:pt x="0" y="49446"/>
                  <a:pt x="0" y="110440"/>
                </a:cubicBezTo>
                <a:lnTo>
                  <a:pt x="0" y="1217762"/>
                </a:lnTo>
                <a:lnTo>
                  <a:pt x="959408" y="1217762"/>
                </a:lnTo>
                <a:cubicBezTo>
                  <a:pt x="1020402" y="1217762"/>
                  <a:pt x="1069848" y="1168316"/>
                  <a:pt x="1069848" y="1107322"/>
                </a:cubicBezTo>
                <a:lnTo>
                  <a:pt x="1069848" y="31055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1568" kern="0" spc="-49"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93" name="Group 92"/>
          <p:cNvGrpSpPr/>
          <p:nvPr/>
        </p:nvGrpSpPr>
        <p:grpSpPr>
          <a:xfrm>
            <a:off x="4184793" y="2087687"/>
            <a:ext cx="1019845" cy="1611678"/>
            <a:chOff x="4788853" y="2855535"/>
            <a:chExt cx="581829" cy="919474"/>
          </a:xfrm>
        </p:grpSpPr>
        <p:sp>
          <p:nvSpPr>
            <p:cNvPr id="94" name="Freeform 2013"/>
            <p:cNvSpPr>
              <a:spLocks/>
            </p:cNvSpPr>
            <p:nvPr/>
          </p:nvSpPr>
          <p:spPr bwMode="auto">
            <a:xfrm>
              <a:off x="5043556" y="2855535"/>
              <a:ext cx="327126" cy="915125"/>
            </a:xfrm>
            <a:custGeom>
              <a:avLst/>
              <a:gdLst>
                <a:gd name="T0" fmla="*/ 315 w 317"/>
                <a:gd name="T1" fmla="*/ 139 h 886"/>
                <a:gd name="T2" fmla="*/ 310 w 317"/>
                <a:gd name="T3" fmla="*/ 113 h 886"/>
                <a:gd name="T4" fmla="*/ 302 w 317"/>
                <a:gd name="T5" fmla="*/ 88 h 886"/>
                <a:gd name="T6" fmla="*/ 290 w 317"/>
                <a:gd name="T7" fmla="*/ 66 h 886"/>
                <a:gd name="T8" fmla="*/ 274 w 317"/>
                <a:gd name="T9" fmla="*/ 45 h 886"/>
                <a:gd name="T10" fmla="*/ 256 w 317"/>
                <a:gd name="T11" fmla="*/ 28 h 886"/>
                <a:gd name="T12" fmla="*/ 235 w 317"/>
                <a:gd name="T13" fmla="*/ 14 h 886"/>
                <a:gd name="T14" fmla="*/ 212 w 317"/>
                <a:gd name="T15" fmla="*/ 3 h 886"/>
                <a:gd name="T16" fmla="*/ 200 w 317"/>
                <a:gd name="T17" fmla="*/ 141 h 886"/>
                <a:gd name="T18" fmla="*/ 140 w 317"/>
                <a:gd name="T19" fmla="*/ 164 h 886"/>
                <a:gd name="T20" fmla="*/ 117 w 317"/>
                <a:gd name="T21" fmla="*/ 0 h 886"/>
                <a:gd name="T22" fmla="*/ 92 w 317"/>
                <a:gd name="T23" fmla="*/ 10 h 886"/>
                <a:gd name="T24" fmla="*/ 70 w 317"/>
                <a:gd name="T25" fmla="*/ 20 h 886"/>
                <a:gd name="T26" fmla="*/ 50 w 317"/>
                <a:gd name="T27" fmla="*/ 38 h 886"/>
                <a:gd name="T28" fmla="*/ 33 w 317"/>
                <a:gd name="T29" fmla="*/ 55 h 886"/>
                <a:gd name="T30" fmla="*/ 19 w 317"/>
                <a:gd name="T31" fmla="*/ 77 h 886"/>
                <a:gd name="T32" fmla="*/ 9 w 317"/>
                <a:gd name="T33" fmla="*/ 100 h 886"/>
                <a:gd name="T34" fmla="*/ 1 w 317"/>
                <a:gd name="T35" fmla="*/ 125 h 886"/>
                <a:gd name="T36" fmla="*/ 0 w 317"/>
                <a:gd name="T37" fmla="*/ 153 h 886"/>
                <a:gd name="T38" fmla="*/ 0 w 317"/>
                <a:gd name="T39" fmla="*/ 155 h 886"/>
                <a:gd name="T40" fmla="*/ 0 w 317"/>
                <a:gd name="T41" fmla="*/ 169 h 886"/>
                <a:gd name="T42" fmla="*/ 4 w 317"/>
                <a:gd name="T43" fmla="*/ 191 h 886"/>
                <a:gd name="T44" fmla="*/ 11 w 317"/>
                <a:gd name="T45" fmla="*/ 213 h 886"/>
                <a:gd name="T46" fmla="*/ 20 w 317"/>
                <a:gd name="T47" fmla="*/ 233 h 886"/>
                <a:gd name="T48" fmla="*/ 33 w 317"/>
                <a:gd name="T49" fmla="*/ 250 h 886"/>
                <a:gd name="T50" fmla="*/ 48 w 317"/>
                <a:gd name="T51" fmla="*/ 267 h 886"/>
                <a:gd name="T52" fmla="*/ 64 w 317"/>
                <a:gd name="T53" fmla="*/ 281 h 886"/>
                <a:gd name="T54" fmla="*/ 84 w 317"/>
                <a:gd name="T55" fmla="*/ 292 h 886"/>
                <a:gd name="T56" fmla="*/ 93 w 317"/>
                <a:gd name="T57" fmla="*/ 825 h 886"/>
                <a:gd name="T58" fmla="*/ 95 w 317"/>
                <a:gd name="T59" fmla="*/ 837 h 886"/>
                <a:gd name="T60" fmla="*/ 98 w 317"/>
                <a:gd name="T61" fmla="*/ 848 h 886"/>
                <a:gd name="T62" fmla="*/ 104 w 317"/>
                <a:gd name="T63" fmla="*/ 859 h 886"/>
                <a:gd name="T64" fmla="*/ 114 w 317"/>
                <a:gd name="T65" fmla="*/ 868 h 886"/>
                <a:gd name="T66" fmla="*/ 123 w 317"/>
                <a:gd name="T67" fmla="*/ 875 h 886"/>
                <a:gd name="T68" fmla="*/ 134 w 317"/>
                <a:gd name="T69" fmla="*/ 881 h 886"/>
                <a:gd name="T70" fmla="*/ 145 w 317"/>
                <a:gd name="T71" fmla="*/ 884 h 886"/>
                <a:gd name="T72" fmla="*/ 159 w 317"/>
                <a:gd name="T73" fmla="*/ 886 h 886"/>
                <a:gd name="T74" fmla="*/ 170 w 317"/>
                <a:gd name="T75" fmla="*/ 884 h 886"/>
                <a:gd name="T76" fmla="*/ 182 w 317"/>
                <a:gd name="T77" fmla="*/ 881 h 886"/>
                <a:gd name="T78" fmla="*/ 193 w 317"/>
                <a:gd name="T79" fmla="*/ 875 h 886"/>
                <a:gd name="T80" fmla="*/ 203 w 317"/>
                <a:gd name="T81" fmla="*/ 868 h 886"/>
                <a:gd name="T82" fmla="*/ 210 w 317"/>
                <a:gd name="T83" fmla="*/ 859 h 886"/>
                <a:gd name="T84" fmla="*/ 217 w 317"/>
                <a:gd name="T85" fmla="*/ 848 h 886"/>
                <a:gd name="T86" fmla="*/ 221 w 317"/>
                <a:gd name="T87" fmla="*/ 837 h 886"/>
                <a:gd name="T88" fmla="*/ 223 w 317"/>
                <a:gd name="T89" fmla="*/ 825 h 886"/>
                <a:gd name="T90" fmla="*/ 232 w 317"/>
                <a:gd name="T91" fmla="*/ 292 h 886"/>
                <a:gd name="T92" fmla="*/ 251 w 317"/>
                <a:gd name="T93" fmla="*/ 281 h 886"/>
                <a:gd name="T94" fmla="*/ 268 w 317"/>
                <a:gd name="T95" fmla="*/ 267 h 886"/>
                <a:gd name="T96" fmla="*/ 282 w 317"/>
                <a:gd name="T97" fmla="*/ 250 h 886"/>
                <a:gd name="T98" fmla="*/ 295 w 317"/>
                <a:gd name="T99" fmla="*/ 233 h 886"/>
                <a:gd name="T100" fmla="*/ 306 w 317"/>
                <a:gd name="T101" fmla="*/ 213 h 886"/>
                <a:gd name="T102" fmla="*/ 312 w 317"/>
                <a:gd name="T103" fmla="*/ 191 h 886"/>
                <a:gd name="T104" fmla="*/ 315 w 317"/>
                <a:gd name="T105" fmla="*/ 169 h 886"/>
                <a:gd name="T106" fmla="*/ 317 w 317"/>
                <a:gd name="T107" fmla="*/ 155 h 886"/>
                <a:gd name="T108" fmla="*/ 317 w 317"/>
                <a:gd name="T109" fmla="*/ 153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7" h="886">
                  <a:moveTo>
                    <a:pt x="317" y="153"/>
                  </a:moveTo>
                  <a:lnTo>
                    <a:pt x="315" y="139"/>
                  </a:lnTo>
                  <a:lnTo>
                    <a:pt x="313" y="125"/>
                  </a:lnTo>
                  <a:lnTo>
                    <a:pt x="310" y="113"/>
                  </a:lnTo>
                  <a:lnTo>
                    <a:pt x="307" y="100"/>
                  </a:lnTo>
                  <a:lnTo>
                    <a:pt x="302" y="88"/>
                  </a:lnTo>
                  <a:lnTo>
                    <a:pt x="296" y="77"/>
                  </a:lnTo>
                  <a:lnTo>
                    <a:pt x="290" y="66"/>
                  </a:lnTo>
                  <a:lnTo>
                    <a:pt x="282" y="55"/>
                  </a:lnTo>
                  <a:lnTo>
                    <a:pt x="274" y="45"/>
                  </a:lnTo>
                  <a:lnTo>
                    <a:pt x="265" y="38"/>
                  </a:lnTo>
                  <a:lnTo>
                    <a:pt x="256" y="28"/>
                  </a:lnTo>
                  <a:lnTo>
                    <a:pt x="246" y="20"/>
                  </a:lnTo>
                  <a:lnTo>
                    <a:pt x="235" y="14"/>
                  </a:lnTo>
                  <a:lnTo>
                    <a:pt x="223" y="10"/>
                  </a:lnTo>
                  <a:lnTo>
                    <a:pt x="212" y="3"/>
                  </a:lnTo>
                  <a:lnTo>
                    <a:pt x="200" y="0"/>
                  </a:lnTo>
                  <a:lnTo>
                    <a:pt x="200" y="141"/>
                  </a:lnTo>
                  <a:lnTo>
                    <a:pt x="176" y="164"/>
                  </a:lnTo>
                  <a:lnTo>
                    <a:pt x="140" y="164"/>
                  </a:lnTo>
                  <a:lnTo>
                    <a:pt x="117" y="141"/>
                  </a:lnTo>
                  <a:lnTo>
                    <a:pt x="117" y="0"/>
                  </a:lnTo>
                  <a:lnTo>
                    <a:pt x="104" y="3"/>
                  </a:lnTo>
                  <a:lnTo>
                    <a:pt x="92" y="10"/>
                  </a:lnTo>
                  <a:lnTo>
                    <a:pt x="81" y="14"/>
                  </a:lnTo>
                  <a:lnTo>
                    <a:pt x="70" y="20"/>
                  </a:lnTo>
                  <a:lnTo>
                    <a:pt x="61" y="28"/>
                  </a:lnTo>
                  <a:lnTo>
                    <a:pt x="50" y="38"/>
                  </a:lnTo>
                  <a:lnTo>
                    <a:pt x="42" y="45"/>
                  </a:lnTo>
                  <a:lnTo>
                    <a:pt x="33" y="55"/>
                  </a:lnTo>
                  <a:lnTo>
                    <a:pt x="26" y="66"/>
                  </a:lnTo>
                  <a:lnTo>
                    <a:pt x="19" y="77"/>
                  </a:lnTo>
                  <a:lnTo>
                    <a:pt x="14" y="88"/>
                  </a:lnTo>
                  <a:lnTo>
                    <a:pt x="9" y="100"/>
                  </a:lnTo>
                  <a:lnTo>
                    <a:pt x="4" y="113"/>
                  </a:lnTo>
                  <a:lnTo>
                    <a:pt x="1" y="125"/>
                  </a:lnTo>
                  <a:lnTo>
                    <a:pt x="0" y="139"/>
                  </a:lnTo>
                  <a:lnTo>
                    <a:pt x="0" y="153"/>
                  </a:lnTo>
                  <a:lnTo>
                    <a:pt x="0" y="153"/>
                  </a:lnTo>
                  <a:lnTo>
                    <a:pt x="0" y="155"/>
                  </a:lnTo>
                  <a:lnTo>
                    <a:pt x="0" y="156"/>
                  </a:lnTo>
                  <a:lnTo>
                    <a:pt x="0" y="169"/>
                  </a:lnTo>
                  <a:lnTo>
                    <a:pt x="1" y="180"/>
                  </a:lnTo>
                  <a:lnTo>
                    <a:pt x="4" y="191"/>
                  </a:lnTo>
                  <a:lnTo>
                    <a:pt x="6" y="202"/>
                  </a:lnTo>
                  <a:lnTo>
                    <a:pt x="11" y="213"/>
                  </a:lnTo>
                  <a:lnTo>
                    <a:pt x="15" y="222"/>
                  </a:lnTo>
                  <a:lnTo>
                    <a:pt x="20" y="233"/>
                  </a:lnTo>
                  <a:lnTo>
                    <a:pt x="26" y="242"/>
                  </a:lnTo>
                  <a:lnTo>
                    <a:pt x="33" y="250"/>
                  </a:lnTo>
                  <a:lnTo>
                    <a:pt x="40" y="259"/>
                  </a:lnTo>
                  <a:lnTo>
                    <a:pt x="48" y="267"/>
                  </a:lnTo>
                  <a:lnTo>
                    <a:pt x="56" y="275"/>
                  </a:lnTo>
                  <a:lnTo>
                    <a:pt x="64" y="281"/>
                  </a:lnTo>
                  <a:lnTo>
                    <a:pt x="73" y="288"/>
                  </a:lnTo>
                  <a:lnTo>
                    <a:pt x="84" y="292"/>
                  </a:lnTo>
                  <a:lnTo>
                    <a:pt x="93" y="298"/>
                  </a:lnTo>
                  <a:lnTo>
                    <a:pt x="93" y="825"/>
                  </a:lnTo>
                  <a:lnTo>
                    <a:pt x="93" y="831"/>
                  </a:lnTo>
                  <a:lnTo>
                    <a:pt x="95" y="837"/>
                  </a:lnTo>
                  <a:lnTo>
                    <a:pt x="97" y="842"/>
                  </a:lnTo>
                  <a:lnTo>
                    <a:pt x="98" y="848"/>
                  </a:lnTo>
                  <a:lnTo>
                    <a:pt x="101" y="853"/>
                  </a:lnTo>
                  <a:lnTo>
                    <a:pt x="104" y="859"/>
                  </a:lnTo>
                  <a:lnTo>
                    <a:pt x="109" y="864"/>
                  </a:lnTo>
                  <a:lnTo>
                    <a:pt x="114" y="868"/>
                  </a:lnTo>
                  <a:lnTo>
                    <a:pt x="118" y="872"/>
                  </a:lnTo>
                  <a:lnTo>
                    <a:pt x="123" y="875"/>
                  </a:lnTo>
                  <a:lnTo>
                    <a:pt x="128" y="878"/>
                  </a:lnTo>
                  <a:lnTo>
                    <a:pt x="134" y="881"/>
                  </a:lnTo>
                  <a:lnTo>
                    <a:pt x="140" y="882"/>
                  </a:lnTo>
                  <a:lnTo>
                    <a:pt x="145" y="884"/>
                  </a:lnTo>
                  <a:lnTo>
                    <a:pt x="151" y="886"/>
                  </a:lnTo>
                  <a:lnTo>
                    <a:pt x="159" y="886"/>
                  </a:lnTo>
                  <a:lnTo>
                    <a:pt x="165" y="886"/>
                  </a:lnTo>
                  <a:lnTo>
                    <a:pt x="170" y="884"/>
                  </a:lnTo>
                  <a:lnTo>
                    <a:pt x="176" y="882"/>
                  </a:lnTo>
                  <a:lnTo>
                    <a:pt x="182" y="881"/>
                  </a:lnTo>
                  <a:lnTo>
                    <a:pt x="189" y="878"/>
                  </a:lnTo>
                  <a:lnTo>
                    <a:pt x="193" y="875"/>
                  </a:lnTo>
                  <a:lnTo>
                    <a:pt x="198" y="872"/>
                  </a:lnTo>
                  <a:lnTo>
                    <a:pt x="203" y="868"/>
                  </a:lnTo>
                  <a:lnTo>
                    <a:pt x="207" y="864"/>
                  </a:lnTo>
                  <a:lnTo>
                    <a:pt x="210" y="859"/>
                  </a:lnTo>
                  <a:lnTo>
                    <a:pt x="214" y="853"/>
                  </a:lnTo>
                  <a:lnTo>
                    <a:pt x="217" y="848"/>
                  </a:lnTo>
                  <a:lnTo>
                    <a:pt x="220" y="842"/>
                  </a:lnTo>
                  <a:lnTo>
                    <a:pt x="221" y="837"/>
                  </a:lnTo>
                  <a:lnTo>
                    <a:pt x="221" y="831"/>
                  </a:lnTo>
                  <a:lnTo>
                    <a:pt x="223" y="825"/>
                  </a:lnTo>
                  <a:lnTo>
                    <a:pt x="223" y="298"/>
                  </a:lnTo>
                  <a:lnTo>
                    <a:pt x="232" y="292"/>
                  </a:lnTo>
                  <a:lnTo>
                    <a:pt x="242" y="288"/>
                  </a:lnTo>
                  <a:lnTo>
                    <a:pt x="251" y="281"/>
                  </a:lnTo>
                  <a:lnTo>
                    <a:pt x="260" y="275"/>
                  </a:lnTo>
                  <a:lnTo>
                    <a:pt x="268" y="267"/>
                  </a:lnTo>
                  <a:lnTo>
                    <a:pt x="276" y="259"/>
                  </a:lnTo>
                  <a:lnTo>
                    <a:pt x="282" y="250"/>
                  </a:lnTo>
                  <a:lnTo>
                    <a:pt x="290" y="242"/>
                  </a:lnTo>
                  <a:lnTo>
                    <a:pt x="295" y="233"/>
                  </a:lnTo>
                  <a:lnTo>
                    <a:pt x="301" y="222"/>
                  </a:lnTo>
                  <a:lnTo>
                    <a:pt x="306" y="213"/>
                  </a:lnTo>
                  <a:lnTo>
                    <a:pt x="309" y="202"/>
                  </a:lnTo>
                  <a:lnTo>
                    <a:pt x="312" y="191"/>
                  </a:lnTo>
                  <a:lnTo>
                    <a:pt x="313" y="180"/>
                  </a:lnTo>
                  <a:lnTo>
                    <a:pt x="315" y="169"/>
                  </a:lnTo>
                  <a:lnTo>
                    <a:pt x="317" y="156"/>
                  </a:lnTo>
                  <a:lnTo>
                    <a:pt x="317" y="155"/>
                  </a:lnTo>
                  <a:lnTo>
                    <a:pt x="317" y="153"/>
                  </a:lnTo>
                  <a:lnTo>
                    <a:pt x="317" y="153"/>
                  </a:lnTo>
                  <a:lnTo>
                    <a:pt x="317" y="153"/>
                  </a:lnTo>
                  <a:close/>
                </a:path>
              </a:pathLst>
            </a:custGeom>
            <a:solidFill>
              <a:schemeClr val="bg1"/>
            </a:solidFill>
            <a:ln w="9525">
              <a:noFill/>
              <a:round/>
              <a:headEnd/>
              <a:tailEnd/>
            </a:ln>
            <a:extLst/>
          </p:spPr>
          <p:txBody>
            <a:bodyPr vert="horz" wrap="square" lIns="89619" tIns="44809" rIns="89619" bIns="44809" numCol="1" anchor="t" anchorCtr="0" compatLnSpc="1">
              <a:prstTxWarp prst="textNoShape">
                <a:avLst/>
              </a:prstTxWarp>
            </a:bodyPr>
            <a:lstStyle/>
            <a:p>
              <a:pPr defTabSz="896118"/>
              <a:endParaRPr lang="en-US" sz="1764" kern="0">
                <a:solidFill>
                  <a:prstClr val="black"/>
                </a:solidFill>
              </a:endParaRPr>
            </a:p>
          </p:txBody>
        </p:sp>
        <p:grpSp>
          <p:nvGrpSpPr>
            <p:cNvPr id="95" name="Group 94"/>
            <p:cNvGrpSpPr/>
            <p:nvPr/>
          </p:nvGrpSpPr>
          <p:grpSpPr>
            <a:xfrm>
              <a:off x="4788853" y="2878506"/>
              <a:ext cx="204971" cy="896503"/>
              <a:chOff x="4788853" y="2878506"/>
              <a:chExt cx="204971" cy="896503"/>
            </a:xfrm>
          </p:grpSpPr>
          <p:sp>
            <p:nvSpPr>
              <p:cNvPr id="96" name="Freeform 2016"/>
              <p:cNvSpPr>
                <a:spLocks/>
              </p:cNvSpPr>
              <p:nvPr/>
            </p:nvSpPr>
            <p:spPr bwMode="auto">
              <a:xfrm>
                <a:off x="4788853" y="3412681"/>
                <a:ext cx="204971" cy="229820"/>
              </a:xfrm>
              <a:custGeom>
                <a:avLst/>
                <a:gdLst>
                  <a:gd name="T0" fmla="*/ 190 w 198"/>
                  <a:gd name="T1" fmla="*/ 0 h 222"/>
                  <a:gd name="T2" fmla="*/ 8 w 198"/>
                  <a:gd name="T3" fmla="*/ 0 h 222"/>
                  <a:gd name="T4" fmla="*/ 6 w 198"/>
                  <a:gd name="T5" fmla="*/ 3 h 222"/>
                  <a:gd name="T6" fmla="*/ 6 w 198"/>
                  <a:gd name="T7" fmla="*/ 6 h 222"/>
                  <a:gd name="T8" fmla="*/ 3 w 198"/>
                  <a:gd name="T9" fmla="*/ 11 h 222"/>
                  <a:gd name="T10" fmla="*/ 1 w 198"/>
                  <a:gd name="T11" fmla="*/ 14 h 222"/>
                  <a:gd name="T12" fmla="*/ 0 w 198"/>
                  <a:gd name="T13" fmla="*/ 16 h 222"/>
                  <a:gd name="T14" fmla="*/ 0 w 198"/>
                  <a:gd name="T15" fmla="*/ 17 h 222"/>
                  <a:gd name="T16" fmla="*/ 0 w 198"/>
                  <a:gd name="T17" fmla="*/ 19 h 222"/>
                  <a:gd name="T18" fmla="*/ 0 w 198"/>
                  <a:gd name="T19" fmla="*/ 222 h 222"/>
                  <a:gd name="T20" fmla="*/ 198 w 198"/>
                  <a:gd name="T21" fmla="*/ 222 h 222"/>
                  <a:gd name="T22" fmla="*/ 198 w 198"/>
                  <a:gd name="T23" fmla="*/ 19 h 222"/>
                  <a:gd name="T24" fmla="*/ 198 w 198"/>
                  <a:gd name="T25" fmla="*/ 17 h 222"/>
                  <a:gd name="T26" fmla="*/ 196 w 198"/>
                  <a:gd name="T27" fmla="*/ 16 h 222"/>
                  <a:gd name="T28" fmla="*/ 196 w 198"/>
                  <a:gd name="T29" fmla="*/ 14 h 222"/>
                  <a:gd name="T30" fmla="*/ 195 w 198"/>
                  <a:gd name="T31" fmla="*/ 11 h 222"/>
                  <a:gd name="T32" fmla="*/ 192 w 198"/>
                  <a:gd name="T33" fmla="*/ 6 h 222"/>
                  <a:gd name="T34" fmla="*/ 190 w 198"/>
                  <a:gd name="T35" fmla="*/ 3 h 222"/>
                  <a:gd name="T36" fmla="*/ 190 w 198"/>
                  <a:gd name="T37" fmla="*/ 0 h 222"/>
                  <a:gd name="T38" fmla="*/ 190 w 198"/>
                  <a:gd name="T39"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8" h="222">
                    <a:moveTo>
                      <a:pt x="190" y="0"/>
                    </a:moveTo>
                    <a:lnTo>
                      <a:pt x="8" y="0"/>
                    </a:lnTo>
                    <a:lnTo>
                      <a:pt x="6" y="3"/>
                    </a:lnTo>
                    <a:lnTo>
                      <a:pt x="6" y="6"/>
                    </a:lnTo>
                    <a:lnTo>
                      <a:pt x="3" y="11"/>
                    </a:lnTo>
                    <a:lnTo>
                      <a:pt x="1" y="14"/>
                    </a:lnTo>
                    <a:lnTo>
                      <a:pt x="0" y="16"/>
                    </a:lnTo>
                    <a:lnTo>
                      <a:pt x="0" y="17"/>
                    </a:lnTo>
                    <a:lnTo>
                      <a:pt x="0" y="19"/>
                    </a:lnTo>
                    <a:lnTo>
                      <a:pt x="0" y="222"/>
                    </a:lnTo>
                    <a:lnTo>
                      <a:pt x="198" y="222"/>
                    </a:lnTo>
                    <a:lnTo>
                      <a:pt x="198" y="19"/>
                    </a:lnTo>
                    <a:lnTo>
                      <a:pt x="198" y="17"/>
                    </a:lnTo>
                    <a:lnTo>
                      <a:pt x="196" y="16"/>
                    </a:lnTo>
                    <a:lnTo>
                      <a:pt x="196" y="14"/>
                    </a:lnTo>
                    <a:lnTo>
                      <a:pt x="195" y="11"/>
                    </a:lnTo>
                    <a:lnTo>
                      <a:pt x="192" y="6"/>
                    </a:lnTo>
                    <a:lnTo>
                      <a:pt x="190" y="3"/>
                    </a:lnTo>
                    <a:lnTo>
                      <a:pt x="190" y="0"/>
                    </a:lnTo>
                    <a:lnTo>
                      <a:pt x="190" y="0"/>
                    </a:lnTo>
                    <a:close/>
                  </a:path>
                </a:pathLst>
              </a:custGeom>
              <a:solidFill>
                <a:schemeClr val="bg1"/>
              </a:solidFill>
              <a:ln w="9525">
                <a:noFill/>
                <a:round/>
                <a:headEnd/>
                <a:tailEnd/>
              </a:ln>
              <a:extLst/>
            </p:spPr>
            <p:txBody>
              <a:bodyPr vert="horz" wrap="square" lIns="89619" tIns="44809" rIns="89619" bIns="44809" numCol="1" anchor="t" anchorCtr="0" compatLnSpc="1">
                <a:prstTxWarp prst="textNoShape">
                  <a:avLst/>
                </a:prstTxWarp>
              </a:bodyPr>
              <a:lstStyle/>
              <a:p>
                <a:pPr defTabSz="896118"/>
                <a:endParaRPr lang="en-US" sz="1764" kern="0">
                  <a:solidFill>
                    <a:prstClr val="black"/>
                  </a:solidFill>
                </a:endParaRPr>
              </a:p>
            </p:txBody>
          </p:sp>
          <p:sp>
            <p:nvSpPr>
              <p:cNvPr id="97" name="Freeform 2017"/>
              <p:cNvSpPr>
                <a:spLocks/>
              </p:cNvSpPr>
              <p:nvPr/>
            </p:nvSpPr>
            <p:spPr bwMode="auto">
              <a:xfrm>
                <a:off x="4788853" y="3669416"/>
                <a:ext cx="204971" cy="105593"/>
              </a:xfrm>
              <a:custGeom>
                <a:avLst/>
                <a:gdLst>
                  <a:gd name="T0" fmla="*/ 0 w 198"/>
                  <a:gd name="T1" fmla="*/ 10 h 102"/>
                  <a:gd name="T2" fmla="*/ 0 w 198"/>
                  <a:gd name="T3" fmla="*/ 28 h 102"/>
                  <a:gd name="T4" fmla="*/ 0 w 198"/>
                  <a:gd name="T5" fmla="*/ 38 h 102"/>
                  <a:gd name="T6" fmla="*/ 1 w 198"/>
                  <a:gd name="T7" fmla="*/ 46 h 102"/>
                  <a:gd name="T8" fmla="*/ 3 w 198"/>
                  <a:gd name="T9" fmla="*/ 53 h 102"/>
                  <a:gd name="T10" fmla="*/ 4 w 198"/>
                  <a:gd name="T11" fmla="*/ 61 h 102"/>
                  <a:gd name="T12" fmla="*/ 8 w 198"/>
                  <a:gd name="T13" fmla="*/ 69 h 102"/>
                  <a:gd name="T14" fmla="*/ 12 w 198"/>
                  <a:gd name="T15" fmla="*/ 75 h 102"/>
                  <a:gd name="T16" fmla="*/ 17 w 198"/>
                  <a:gd name="T17" fmla="*/ 81 h 102"/>
                  <a:gd name="T18" fmla="*/ 23 w 198"/>
                  <a:gd name="T19" fmla="*/ 86 h 102"/>
                  <a:gd name="T20" fmla="*/ 31 w 198"/>
                  <a:gd name="T21" fmla="*/ 91 h 102"/>
                  <a:gd name="T22" fmla="*/ 36 w 198"/>
                  <a:gd name="T23" fmla="*/ 92 h 102"/>
                  <a:gd name="T24" fmla="*/ 42 w 198"/>
                  <a:gd name="T25" fmla="*/ 94 h 102"/>
                  <a:gd name="T26" fmla="*/ 47 w 198"/>
                  <a:gd name="T27" fmla="*/ 95 h 102"/>
                  <a:gd name="T28" fmla="*/ 53 w 198"/>
                  <a:gd name="T29" fmla="*/ 97 h 102"/>
                  <a:gd name="T30" fmla="*/ 59 w 198"/>
                  <a:gd name="T31" fmla="*/ 99 h 102"/>
                  <a:gd name="T32" fmla="*/ 65 w 198"/>
                  <a:gd name="T33" fmla="*/ 100 h 102"/>
                  <a:gd name="T34" fmla="*/ 73 w 198"/>
                  <a:gd name="T35" fmla="*/ 100 h 102"/>
                  <a:gd name="T36" fmla="*/ 81 w 198"/>
                  <a:gd name="T37" fmla="*/ 102 h 102"/>
                  <a:gd name="T38" fmla="*/ 89 w 198"/>
                  <a:gd name="T39" fmla="*/ 102 h 102"/>
                  <a:gd name="T40" fmla="*/ 98 w 198"/>
                  <a:gd name="T41" fmla="*/ 102 h 102"/>
                  <a:gd name="T42" fmla="*/ 106 w 198"/>
                  <a:gd name="T43" fmla="*/ 102 h 102"/>
                  <a:gd name="T44" fmla="*/ 115 w 198"/>
                  <a:gd name="T45" fmla="*/ 102 h 102"/>
                  <a:gd name="T46" fmla="*/ 123 w 198"/>
                  <a:gd name="T47" fmla="*/ 100 h 102"/>
                  <a:gd name="T48" fmla="*/ 131 w 198"/>
                  <a:gd name="T49" fmla="*/ 100 h 102"/>
                  <a:gd name="T50" fmla="*/ 137 w 198"/>
                  <a:gd name="T51" fmla="*/ 99 h 102"/>
                  <a:gd name="T52" fmla="*/ 143 w 198"/>
                  <a:gd name="T53" fmla="*/ 97 h 102"/>
                  <a:gd name="T54" fmla="*/ 150 w 198"/>
                  <a:gd name="T55" fmla="*/ 95 h 102"/>
                  <a:gd name="T56" fmla="*/ 156 w 198"/>
                  <a:gd name="T57" fmla="*/ 94 h 102"/>
                  <a:gd name="T58" fmla="*/ 161 w 198"/>
                  <a:gd name="T59" fmla="*/ 92 h 102"/>
                  <a:gd name="T60" fmla="*/ 165 w 198"/>
                  <a:gd name="T61" fmla="*/ 91 h 102"/>
                  <a:gd name="T62" fmla="*/ 170 w 198"/>
                  <a:gd name="T63" fmla="*/ 89 h 102"/>
                  <a:gd name="T64" fmla="*/ 173 w 198"/>
                  <a:gd name="T65" fmla="*/ 86 h 102"/>
                  <a:gd name="T66" fmla="*/ 181 w 198"/>
                  <a:gd name="T67" fmla="*/ 81 h 102"/>
                  <a:gd name="T68" fmla="*/ 185 w 198"/>
                  <a:gd name="T69" fmla="*/ 75 h 102"/>
                  <a:gd name="T70" fmla="*/ 190 w 198"/>
                  <a:gd name="T71" fmla="*/ 69 h 102"/>
                  <a:gd name="T72" fmla="*/ 193 w 198"/>
                  <a:gd name="T73" fmla="*/ 61 h 102"/>
                  <a:gd name="T74" fmla="*/ 195 w 198"/>
                  <a:gd name="T75" fmla="*/ 53 h 102"/>
                  <a:gd name="T76" fmla="*/ 196 w 198"/>
                  <a:gd name="T77" fmla="*/ 46 h 102"/>
                  <a:gd name="T78" fmla="*/ 198 w 198"/>
                  <a:gd name="T79" fmla="*/ 38 h 102"/>
                  <a:gd name="T80" fmla="*/ 198 w 198"/>
                  <a:gd name="T81" fmla="*/ 28 h 102"/>
                  <a:gd name="T82" fmla="*/ 198 w 198"/>
                  <a:gd name="T83" fmla="*/ 10 h 102"/>
                  <a:gd name="T84" fmla="*/ 198 w 198"/>
                  <a:gd name="T85" fmla="*/ 10 h 102"/>
                  <a:gd name="T86" fmla="*/ 198 w 198"/>
                  <a:gd name="T87" fmla="*/ 0 h 102"/>
                  <a:gd name="T88" fmla="*/ 0 w 198"/>
                  <a:gd name="T89" fmla="*/ 0 h 102"/>
                  <a:gd name="T90" fmla="*/ 0 w 198"/>
                  <a:gd name="T91" fmla="*/ 10 h 102"/>
                  <a:gd name="T92" fmla="*/ 0 w 198"/>
                  <a:gd name="T93" fmla="*/ 1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8" h="102">
                    <a:moveTo>
                      <a:pt x="0" y="10"/>
                    </a:moveTo>
                    <a:lnTo>
                      <a:pt x="0" y="28"/>
                    </a:lnTo>
                    <a:lnTo>
                      <a:pt x="0" y="38"/>
                    </a:lnTo>
                    <a:lnTo>
                      <a:pt x="1" y="46"/>
                    </a:lnTo>
                    <a:lnTo>
                      <a:pt x="3" y="53"/>
                    </a:lnTo>
                    <a:lnTo>
                      <a:pt x="4" y="61"/>
                    </a:lnTo>
                    <a:lnTo>
                      <a:pt x="8" y="69"/>
                    </a:lnTo>
                    <a:lnTo>
                      <a:pt x="12" y="75"/>
                    </a:lnTo>
                    <a:lnTo>
                      <a:pt x="17" y="81"/>
                    </a:lnTo>
                    <a:lnTo>
                      <a:pt x="23" y="86"/>
                    </a:lnTo>
                    <a:lnTo>
                      <a:pt x="31" y="91"/>
                    </a:lnTo>
                    <a:lnTo>
                      <a:pt x="36" y="92"/>
                    </a:lnTo>
                    <a:lnTo>
                      <a:pt x="42" y="94"/>
                    </a:lnTo>
                    <a:lnTo>
                      <a:pt x="47" y="95"/>
                    </a:lnTo>
                    <a:lnTo>
                      <a:pt x="53" y="97"/>
                    </a:lnTo>
                    <a:lnTo>
                      <a:pt x="59" y="99"/>
                    </a:lnTo>
                    <a:lnTo>
                      <a:pt x="65" y="100"/>
                    </a:lnTo>
                    <a:lnTo>
                      <a:pt x="73" y="100"/>
                    </a:lnTo>
                    <a:lnTo>
                      <a:pt x="81" y="102"/>
                    </a:lnTo>
                    <a:lnTo>
                      <a:pt x="89" y="102"/>
                    </a:lnTo>
                    <a:lnTo>
                      <a:pt x="98" y="102"/>
                    </a:lnTo>
                    <a:lnTo>
                      <a:pt x="106" y="102"/>
                    </a:lnTo>
                    <a:lnTo>
                      <a:pt x="115" y="102"/>
                    </a:lnTo>
                    <a:lnTo>
                      <a:pt x="123" y="100"/>
                    </a:lnTo>
                    <a:lnTo>
                      <a:pt x="131" y="100"/>
                    </a:lnTo>
                    <a:lnTo>
                      <a:pt x="137" y="99"/>
                    </a:lnTo>
                    <a:lnTo>
                      <a:pt x="143" y="97"/>
                    </a:lnTo>
                    <a:lnTo>
                      <a:pt x="150" y="95"/>
                    </a:lnTo>
                    <a:lnTo>
                      <a:pt x="156" y="94"/>
                    </a:lnTo>
                    <a:lnTo>
                      <a:pt x="161" y="92"/>
                    </a:lnTo>
                    <a:lnTo>
                      <a:pt x="165" y="91"/>
                    </a:lnTo>
                    <a:lnTo>
                      <a:pt x="170" y="89"/>
                    </a:lnTo>
                    <a:lnTo>
                      <a:pt x="173" y="86"/>
                    </a:lnTo>
                    <a:lnTo>
                      <a:pt x="181" y="81"/>
                    </a:lnTo>
                    <a:lnTo>
                      <a:pt x="185" y="75"/>
                    </a:lnTo>
                    <a:lnTo>
                      <a:pt x="190" y="69"/>
                    </a:lnTo>
                    <a:lnTo>
                      <a:pt x="193" y="61"/>
                    </a:lnTo>
                    <a:lnTo>
                      <a:pt x="195" y="53"/>
                    </a:lnTo>
                    <a:lnTo>
                      <a:pt x="196" y="46"/>
                    </a:lnTo>
                    <a:lnTo>
                      <a:pt x="198" y="38"/>
                    </a:lnTo>
                    <a:lnTo>
                      <a:pt x="198" y="28"/>
                    </a:lnTo>
                    <a:lnTo>
                      <a:pt x="198" y="10"/>
                    </a:lnTo>
                    <a:lnTo>
                      <a:pt x="198" y="10"/>
                    </a:lnTo>
                    <a:lnTo>
                      <a:pt x="198" y="0"/>
                    </a:lnTo>
                    <a:lnTo>
                      <a:pt x="0" y="0"/>
                    </a:lnTo>
                    <a:lnTo>
                      <a:pt x="0" y="10"/>
                    </a:lnTo>
                    <a:lnTo>
                      <a:pt x="0" y="10"/>
                    </a:lnTo>
                    <a:close/>
                  </a:path>
                </a:pathLst>
              </a:custGeom>
              <a:solidFill>
                <a:schemeClr val="bg1"/>
              </a:solidFill>
              <a:ln w="9525">
                <a:noFill/>
                <a:round/>
                <a:headEnd/>
                <a:tailEnd/>
              </a:ln>
              <a:extLst/>
            </p:spPr>
            <p:txBody>
              <a:bodyPr vert="horz" wrap="square" lIns="89619" tIns="44809" rIns="89619" bIns="44809" numCol="1" anchor="t" anchorCtr="0" compatLnSpc="1">
                <a:prstTxWarp prst="textNoShape">
                  <a:avLst/>
                </a:prstTxWarp>
              </a:bodyPr>
              <a:lstStyle/>
              <a:p>
                <a:pPr defTabSz="896118"/>
                <a:endParaRPr lang="en-US" sz="1764" kern="0">
                  <a:solidFill>
                    <a:prstClr val="black"/>
                  </a:solidFill>
                </a:endParaRPr>
              </a:p>
            </p:txBody>
          </p:sp>
          <p:sp>
            <p:nvSpPr>
              <p:cNvPr id="98" name="Freeform 2018"/>
              <p:cNvSpPr>
                <a:spLocks/>
              </p:cNvSpPr>
              <p:nvPr/>
            </p:nvSpPr>
            <p:spPr bwMode="auto">
              <a:xfrm>
                <a:off x="4788853" y="2878506"/>
                <a:ext cx="204971" cy="509330"/>
              </a:xfrm>
              <a:custGeom>
                <a:avLst/>
                <a:gdLst>
                  <a:gd name="T0" fmla="*/ 140 w 198"/>
                  <a:gd name="T1" fmla="*/ 153 h 492"/>
                  <a:gd name="T2" fmla="*/ 164 w 198"/>
                  <a:gd name="T3" fmla="*/ 153 h 492"/>
                  <a:gd name="T4" fmla="*/ 164 w 198"/>
                  <a:gd name="T5" fmla="*/ 129 h 492"/>
                  <a:gd name="T6" fmla="*/ 150 w 198"/>
                  <a:gd name="T7" fmla="*/ 129 h 492"/>
                  <a:gd name="T8" fmla="*/ 140 w 198"/>
                  <a:gd name="T9" fmla="*/ 0 h 492"/>
                  <a:gd name="T10" fmla="*/ 58 w 198"/>
                  <a:gd name="T11" fmla="*/ 0 h 492"/>
                  <a:gd name="T12" fmla="*/ 47 w 198"/>
                  <a:gd name="T13" fmla="*/ 129 h 492"/>
                  <a:gd name="T14" fmla="*/ 34 w 198"/>
                  <a:gd name="T15" fmla="*/ 129 h 492"/>
                  <a:gd name="T16" fmla="*/ 34 w 198"/>
                  <a:gd name="T17" fmla="*/ 153 h 492"/>
                  <a:gd name="T18" fmla="*/ 58 w 198"/>
                  <a:gd name="T19" fmla="*/ 153 h 492"/>
                  <a:gd name="T20" fmla="*/ 58 w 198"/>
                  <a:gd name="T21" fmla="*/ 421 h 492"/>
                  <a:gd name="T22" fmla="*/ 0 w 198"/>
                  <a:gd name="T23" fmla="*/ 421 h 492"/>
                  <a:gd name="T24" fmla="*/ 11 w 198"/>
                  <a:gd name="T25" fmla="*/ 468 h 492"/>
                  <a:gd name="T26" fmla="*/ 34 w 198"/>
                  <a:gd name="T27" fmla="*/ 468 h 492"/>
                  <a:gd name="T28" fmla="*/ 28 w 198"/>
                  <a:gd name="T29" fmla="*/ 473 h 492"/>
                  <a:gd name="T30" fmla="*/ 22 w 198"/>
                  <a:gd name="T31" fmla="*/ 479 h 492"/>
                  <a:gd name="T32" fmla="*/ 15 w 198"/>
                  <a:gd name="T33" fmla="*/ 485 h 492"/>
                  <a:gd name="T34" fmla="*/ 11 w 198"/>
                  <a:gd name="T35" fmla="*/ 492 h 492"/>
                  <a:gd name="T36" fmla="*/ 187 w 198"/>
                  <a:gd name="T37" fmla="*/ 492 h 492"/>
                  <a:gd name="T38" fmla="*/ 184 w 198"/>
                  <a:gd name="T39" fmla="*/ 488 h 492"/>
                  <a:gd name="T40" fmla="*/ 181 w 198"/>
                  <a:gd name="T41" fmla="*/ 485 h 492"/>
                  <a:gd name="T42" fmla="*/ 176 w 198"/>
                  <a:gd name="T43" fmla="*/ 479 h 492"/>
                  <a:gd name="T44" fmla="*/ 168 w 198"/>
                  <a:gd name="T45" fmla="*/ 473 h 492"/>
                  <a:gd name="T46" fmla="*/ 164 w 198"/>
                  <a:gd name="T47" fmla="*/ 468 h 492"/>
                  <a:gd name="T48" fmla="*/ 187 w 198"/>
                  <a:gd name="T49" fmla="*/ 468 h 492"/>
                  <a:gd name="T50" fmla="*/ 198 w 198"/>
                  <a:gd name="T51" fmla="*/ 421 h 492"/>
                  <a:gd name="T52" fmla="*/ 140 w 198"/>
                  <a:gd name="T53" fmla="*/ 421 h 492"/>
                  <a:gd name="T54" fmla="*/ 140 w 198"/>
                  <a:gd name="T55" fmla="*/ 153 h 492"/>
                  <a:gd name="T56" fmla="*/ 140 w 198"/>
                  <a:gd name="T57" fmla="*/ 153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8" h="492">
                    <a:moveTo>
                      <a:pt x="140" y="153"/>
                    </a:moveTo>
                    <a:lnTo>
                      <a:pt x="164" y="153"/>
                    </a:lnTo>
                    <a:lnTo>
                      <a:pt x="164" y="129"/>
                    </a:lnTo>
                    <a:lnTo>
                      <a:pt x="150" y="129"/>
                    </a:lnTo>
                    <a:lnTo>
                      <a:pt x="140" y="0"/>
                    </a:lnTo>
                    <a:lnTo>
                      <a:pt x="58" y="0"/>
                    </a:lnTo>
                    <a:lnTo>
                      <a:pt x="47" y="129"/>
                    </a:lnTo>
                    <a:lnTo>
                      <a:pt x="34" y="129"/>
                    </a:lnTo>
                    <a:lnTo>
                      <a:pt x="34" y="153"/>
                    </a:lnTo>
                    <a:lnTo>
                      <a:pt x="58" y="153"/>
                    </a:lnTo>
                    <a:lnTo>
                      <a:pt x="58" y="421"/>
                    </a:lnTo>
                    <a:lnTo>
                      <a:pt x="0" y="421"/>
                    </a:lnTo>
                    <a:lnTo>
                      <a:pt x="11" y="468"/>
                    </a:lnTo>
                    <a:lnTo>
                      <a:pt x="34" y="468"/>
                    </a:lnTo>
                    <a:lnTo>
                      <a:pt x="28" y="473"/>
                    </a:lnTo>
                    <a:lnTo>
                      <a:pt x="22" y="479"/>
                    </a:lnTo>
                    <a:lnTo>
                      <a:pt x="15" y="485"/>
                    </a:lnTo>
                    <a:lnTo>
                      <a:pt x="11" y="492"/>
                    </a:lnTo>
                    <a:lnTo>
                      <a:pt x="187" y="492"/>
                    </a:lnTo>
                    <a:lnTo>
                      <a:pt x="184" y="488"/>
                    </a:lnTo>
                    <a:lnTo>
                      <a:pt x="181" y="485"/>
                    </a:lnTo>
                    <a:lnTo>
                      <a:pt x="176" y="479"/>
                    </a:lnTo>
                    <a:lnTo>
                      <a:pt x="168" y="473"/>
                    </a:lnTo>
                    <a:lnTo>
                      <a:pt x="164" y="468"/>
                    </a:lnTo>
                    <a:lnTo>
                      <a:pt x="187" y="468"/>
                    </a:lnTo>
                    <a:lnTo>
                      <a:pt x="198" y="421"/>
                    </a:lnTo>
                    <a:lnTo>
                      <a:pt x="140" y="421"/>
                    </a:lnTo>
                    <a:lnTo>
                      <a:pt x="140" y="153"/>
                    </a:lnTo>
                    <a:lnTo>
                      <a:pt x="140" y="153"/>
                    </a:lnTo>
                    <a:close/>
                  </a:path>
                </a:pathLst>
              </a:custGeom>
              <a:solidFill>
                <a:schemeClr val="bg1"/>
              </a:solidFill>
              <a:ln w="9525">
                <a:noFill/>
                <a:round/>
                <a:headEnd/>
                <a:tailEnd/>
              </a:ln>
              <a:extLst/>
            </p:spPr>
            <p:txBody>
              <a:bodyPr vert="horz" wrap="square" lIns="89619" tIns="44809" rIns="89619" bIns="44809" numCol="1" anchor="t" anchorCtr="0" compatLnSpc="1">
                <a:prstTxWarp prst="textNoShape">
                  <a:avLst/>
                </a:prstTxWarp>
              </a:bodyPr>
              <a:lstStyle/>
              <a:p>
                <a:pPr defTabSz="896118"/>
                <a:endParaRPr lang="en-US" sz="1764" kern="0">
                  <a:solidFill>
                    <a:prstClr val="black"/>
                  </a:solidFill>
                </a:endParaRPr>
              </a:p>
            </p:txBody>
          </p:sp>
        </p:grpSp>
      </p:grpSp>
      <p:grpSp>
        <p:nvGrpSpPr>
          <p:cNvPr id="99" name="Group 98"/>
          <p:cNvGrpSpPr/>
          <p:nvPr/>
        </p:nvGrpSpPr>
        <p:grpSpPr>
          <a:xfrm>
            <a:off x="1144077" y="2104588"/>
            <a:ext cx="1412087" cy="1577879"/>
            <a:chOff x="805147" y="2779025"/>
            <a:chExt cx="717920" cy="802211"/>
          </a:xfrm>
        </p:grpSpPr>
        <p:sp>
          <p:nvSpPr>
            <p:cNvPr id="100" name="Oval 3"/>
            <p:cNvSpPr/>
            <p:nvPr/>
          </p:nvSpPr>
          <p:spPr>
            <a:xfrm>
              <a:off x="805147" y="2779025"/>
              <a:ext cx="698978" cy="710269"/>
            </a:xfrm>
            <a:custGeom>
              <a:avLst/>
              <a:gdLst/>
              <a:ahLst/>
              <a:cxnLst/>
              <a:rect l="l" t="t" r="r" b="b"/>
              <a:pathLst>
                <a:path w="3135080" h="3185726">
                  <a:moveTo>
                    <a:pt x="2701501" y="2552282"/>
                  </a:moveTo>
                  <a:cubicBezTo>
                    <a:pt x="2591342" y="2552282"/>
                    <a:pt x="2502040" y="2641585"/>
                    <a:pt x="2502041" y="2751743"/>
                  </a:cubicBezTo>
                  <a:cubicBezTo>
                    <a:pt x="2502040" y="2861903"/>
                    <a:pt x="2591343" y="2951204"/>
                    <a:pt x="2701501" y="2951204"/>
                  </a:cubicBezTo>
                  <a:cubicBezTo>
                    <a:pt x="2811660" y="2951204"/>
                    <a:pt x="2900962" y="2861902"/>
                    <a:pt x="2900962" y="2751744"/>
                  </a:cubicBezTo>
                  <a:cubicBezTo>
                    <a:pt x="2900963" y="2641584"/>
                    <a:pt x="2811660" y="2552283"/>
                    <a:pt x="2701501" y="2552282"/>
                  </a:cubicBezTo>
                  <a:close/>
                  <a:moveTo>
                    <a:pt x="752121" y="0"/>
                  </a:moveTo>
                  <a:cubicBezTo>
                    <a:pt x="1167506" y="0"/>
                    <a:pt x="1504242" y="336736"/>
                    <a:pt x="1504242" y="752121"/>
                  </a:cubicBezTo>
                  <a:cubicBezTo>
                    <a:pt x="1504242" y="812575"/>
                    <a:pt x="1497110" y="871364"/>
                    <a:pt x="1481661" y="927218"/>
                  </a:cubicBezTo>
                  <a:lnTo>
                    <a:pt x="2996658" y="2400787"/>
                  </a:lnTo>
                  <a:cubicBezTo>
                    <a:pt x="3177663" y="2576843"/>
                    <a:pt x="3181675" y="2866298"/>
                    <a:pt x="3005619" y="3047303"/>
                  </a:cubicBezTo>
                  <a:cubicBezTo>
                    <a:pt x="2829563" y="3228309"/>
                    <a:pt x="2540109" y="3232321"/>
                    <a:pt x="2359103" y="3056265"/>
                  </a:cubicBezTo>
                  <a:lnTo>
                    <a:pt x="762889" y="1503698"/>
                  </a:lnTo>
                  <a:cubicBezTo>
                    <a:pt x="759310" y="1504217"/>
                    <a:pt x="755719" y="1504242"/>
                    <a:pt x="752121" y="1504242"/>
                  </a:cubicBezTo>
                  <a:cubicBezTo>
                    <a:pt x="336736" y="1504242"/>
                    <a:pt x="0" y="1167506"/>
                    <a:pt x="0" y="752121"/>
                  </a:cubicBezTo>
                  <a:cubicBezTo>
                    <a:pt x="0" y="656205"/>
                    <a:pt x="17955" y="564482"/>
                    <a:pt x="52447" y="480814"/>
                  </a:cubicBezTo>
                  <a:lnTo>
                    <a:pt x="487026" y="920673"/>
                  </a:lnTo>
                  <a:cubicBezTo>
                    <a:pt x="554414" y="988880"/>
                    <a:pt x="664335" y="989544"/>
                    <a:pt x="732542" y="922156"/>
                  </a:cubicBezTo>
                  <a:lnTo>
                    <a:pt x="879355" y="777105"/>
                  </a:lnTo>
                  <a:cubicBezTo>
                    <a:pt x="947562" y="709717"/>
                    <a:pt x="948226" y="599796"/>
                    <a:pt x="880838" y="531589"/>
                  </a:cubicBezTo>
                  <a:lnTo>
                    <a:pt x="429851" y="75123"/>
                  </a:lnTo>
                  <a:cubicBezTo>
                    <a:pt x="526725" y="26148"/>
                    <a:pt x="636369" y="0"/>
                    <a:pt x="75212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96386"/>
              <a:endParaRPr lang="en-US" sz="1961" kern="0" dirty="0">
                <a:solidFill>
                  <a:srgbClr val="000000"/>
                </a:solidFill>
              </a:endParaRPr>
            </a:p>
          </p:txBody>
        </p:sp>
        <p:grpSp>
          <p:nvGrpSpPr>
            <p:cNvPr id="101" name="Group 100"/>
            <p:cNvGrpSpPr/>
            <p:nvPr/>
          </p:nvGrpSpPr>
          <p:grpSpPr>
            <a:xfrm>
              <a:off x="981286" y="2830673"/>
              <a:ext cx="541781" cy="750563"/>
              <a:chOff x="981286" y="2830673"/>
              <a:chExt cx="541781" cy="750563"/>
            </a:xfrm>
          </p:grpSpPr>
          <p:sp>
            <p:nvSpPr>
              <p:cNvPr id="104" name="Freeform 2016"/>
              <p:cNvSpPr>
                <a:spLocks/>
              </p:cNvSpPr>
              <p:nvPr/>
            </p:nvSpPr>
            <p:spPr bwMode="auto">
              <a:xfrm rot="13465931">
                <a:off x="1318096" y="2830673"/>
                <a:ext cx="204971" cy="332614"/>
              </a:xfrm>
              <a:custGeom>
                <a:avLst/>
                <a:gdLst>
                  <a:gd name="T0" fmla="*/ 190 w 198"/>
                  <a:gd name="T1" fmla="*/ 0 h 222"/>
                  <a:gd name="T2" fmla="*/ 8 w 198"/>
                  <a:gd name="T3" fmla="*/ 0 h 222"/>
                  <a:gd name="T4" fmla="*/ 6 w 198"/>
                  <a:gd name="T5" fmla="*/ 3 h 222"/>
                  <a:gd name="T6" fmla="*/ 6 w 198"/>
                  <a:gd name="T7" fmla="*/ 6 h 222"/>
                  <a:gd name="T8" fmla="*/ 3 w 198"/>
                  <a:gd name="T9" fmla="*/ 11 h 222"/>
                  <a:gd name="T10" fmla="*/ 1 w 198"/>
                  <a:gd name="T11" fmla="*/ 14 h 222"/>
                  <a:gd name="T12" fmla="*/ 0 w 198"/>
                  <a:gd name="T13" fmla="*/ 16 h 222"/>
                  <a:gd name="T14" fmla="*/ 0 w 198"/>
                  <a:gd name="T15" fmla="*/ 17 h 222"/>
                  <a:gd name="T16" fmla="*/ 0 w 198"/>
                  <a:gd name="T17" fmla="*/ 19 h 222"/>
                  <a:gd name="T18" fmla="*/ 0 w 198"/>
                  <a:gd name="T19" fmla="*/ 222 h 222"/>
                  <a:gd name="T20" fmla="*/ 198 w 198"/>
                  <a:gd name="T21" fmla="*/ 222 h 222"/>
                  <a:gd name="T22" fmla="*/ 198 w 198"/>
                  <a:gd name="T23" fmla="*/ 19 h 222"/>
                  <a:gd name="T24" fmla="*/ 198 w 198"/>
                  <a:gd name="T25" fmla="*/ 17 h 222"/>
                  <a:gd name="T26" fmla="*/ 196 w 198"/>
                  <a:gd name="T27" fmla="*/ 16 h 222"/>
                  <a:gd name="T28" fmla="*/ 196 w 198"/>
                  <a:gd name="T29" fmla="*/ 14 h 222"/>
                  <a:gd name="T30" fmla="*/ 195 w 198"/>
                  <a:gd name="T31" fmla="*/ 11 h 222"/>
                  <a:gd name="T32" fmla="*/ 192 w 198"/>
                  <a:gd name="T33" fmla="*/ 6 h 222"/>
                  <a:gd name="T34" fmla="*/ 190 w 198"/>
                  <a:gd name="T35" fmla="*/ 3 h 222"/>
                  <a:gd name="T36" fmla="*/ 190 w 198"/>
                  <a:gd name="T37" fmla="*/ 0 h 222"/>
                  <a:gd name="T38" fmla="*/ 190 w 198"/>
                  <a:gd name="T39"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8" h="222">
                    <a:moveTo>
                      <a:pt x="190" y="0"/>
                    </a:moveTo>
                    <a:lnTo>
                      <a:pt x="8" y="0"/>
                    </a:lnTo>
                    <a:lnTo>
                      <a:pt x="6" y="3"/>
                    </a:lnTo>
                    <a:lnTo>
                      <a:pt x="6" y="6"/>
                    </a:lnTo>
                    <a:lnTo>
                      <a:pt x="3" y="11"/>
                    </a:lnTo>
                    <a:lnTo>
                      <a:pt x="1" y="14"/>
                    </a:lnTo>
                    <a:lnTo>
                      <a:pt x="0" y="16"/>
                    </a:lnTo>
                    <a:lnTo>
                      <a:pt x="0" y="17"/>
                    </a:lnTo>
                    <a:lnTo>
                      <a:pt x="0" y="19"/>
                    </a:lnTo>
                    <a:lnTo>
                      <a:pt x="0" y="222"/>
                    </a:lnTo>
                    <a:lnTo>
                      <a:pt x="198" y="222"/>
                    </a:lnTo>
                    <a:lnTo>
                      <a:pt x="198" y="19"/>
                    </a:lnTo>
                    <a:lnTo>
                      <a:pt x="198" y="17"/>
                    </a:lnTo>
                    <a:lnTo>
                      <a:pt x="196" y="16"/>
                    </a:lnTo>
                    <a:lnTo>
                      <a:pt x="196" y="14"/>
                    </a:lnTo>
                    <a:lnTo>
                      <a:pt x="195" y="11"/>
                    </a:lnTo>
                    <a:lnTo>
                      <a:pt x="192" y="6"/>
                    </a:lnTo>
                    <a:lnTo>
                      <a:pt x="190" y="3"/>
                    </a:lnTo>
                    <a:lnTo>
                      <a:pt x="190" y="0"/>
                    </a:lnTo>
                    <a:lnTo>
                      <a:pt x="190" y="0"/>
                    </a:lnTo>
                    <a:close/>
                  </a:path>
                </a:pathLst>
              </a:custGeom>
              <a:solidFill>
                <a:schemeClr val="bg1"/>
              </a:solidFill>
              <a:ln w="19050">
                <a:noFill/>
                <a:round/>
                <a:headEnd/>
                <a:tailEnd/>
              </a:ln>
              <a:extLst/>
            </p:spPr>
            <p:txBody>
              <a:bodyPr vert="horz" wrap="square" lIns="89619" tIns="44809" rIns="89619" bIns="44809" numCol="1" anchor="t" anchorCtr="0" compatLnSpc="1">
                <a:prstTxWarp prst="textNoShape">
                  <a:avLst/>
                </a:prstTxWarp>
              </a:bodyPr>
              <a:lstStyle/>
              <a:p>
                <a:pPr defTabSz="896118"/>
                <a:endParaRPr lang="en-US" sz="1764" kern="0">
                  <a:solidFill>
                    <a:prstClr val="black"/>
                  </a:solidFill>
                </a:endParaRPr>
              </a:p>
            </p:txBody>
          </p:sp>
          <p:sp>
            <p:nvSpPr>
              <p:cNvPr id="105" name="Freeform 2018"/>
              <p:cNvSpPr>
                <a:spLocks/>
              </p:cNvSpPr>
              <p:nvPr/>
            </p:nvSpPr>
            <p:spPr bwMode="auto">
              <a:xfrm rot="13465931">
                <a:off x="981286" y="3071906"/>
                <a:ext cx="204971" cy="509330"/>
              </a:xfrm>
              <a:custGeom>
                <a:avLst/>
                <a:gdLst>
                  <a:gd name="T0" fmla="*/ 140 w 198"/>
                  <a:gd name="T1" fmla="*/ 153 h 492"/>
                  <a:gd name="T2" fmla="*/ 164 w 198"/>
                  <a:gd name="T3" fmla="*/ 153 h 492"/>
                  <a:gd name="T4" fmla="*/ 164 w 198"/>
                  <a:gd name="T5" fmla="*/ 129 h 492"/>
                  <a:gd name="T6" fmla="*/ 150 w 198"/>
                  <a:gd name="T7" fmla="*/ 129 h 492"/>
                  <a:gd name="T8" fmla="*/ 140 w 198"/>
                  <a:gd name="T9" fmla="*/ 0 h 492"/>
                  <a:gd name="T10" fmla="*/ 58 w 198"/>
                  <a:gd name="T11" fmla="*/ 0 h 492"/>
                  <a:gd name="T12" fmla="*/ 47 w 198"/>
                  <a:gd name="T13" fmla="*/ 129 h 492"/>
                  <a:gd name="T14" fmla="*/ 34 w 198"/>
                  <a:gd name="T15" fmla="*/ 129 h 492"/>
                  <a:gd name="T16" fmla="*/ 34 w 198"/>
                  <a:gd name="T17" fmla="*/ 153 h 492"/>
                  <a:gd name="T18" fmla="*/ 58 w 198"/>
                  <a:gd name="T19" fmla="*/ 153 h 492"/>
                  <a:gd name="T20" fmla="*/ 58 w 198"/>
                  <a:gd name="T21" fmla="*/ 421 h 492"/>
                  <a:gd name="T22" fmla="*/ 0 w 198"/>
                  <a:gd name="T23" fmla="*/ 421 h 492"/>
                  <a:gd name="T24" fmla="*/ 11 w 198"/>
                  <a:gd name="T25" fmla="*/ 468 h 492"/>
                  <a:gd name="T26" fmla="*/ 34 w 198"/>
                  <a:gd name="T27" fmla="*/ 468 h 492"/>
                  <a:gd name="T28" fmla="*/ 28 w 198"/>
                  <a:gd name="T29" fmla="*/ 473 h 492"/>
                  <a:gd name="T30" fmla="*/ 22 w 198"/>
                  <a:gd name="T31" fmla="*/ 479 h 492"/>
                  <a:gd name="T32" fmla="*/ 15 w 198"/>
                  <a:gd name="T33" fmla="*/ 485 h 492"/>
                  <a:gd name="T34" fmla="*/ 11 w 198"/>
                  <a:gd name="T35" fmla="*/ 492 h 492"/>
                  <a:gd name="T36" fmla="*/ 187 w 198"/>
                  <a:gd name="T37" fmla="*/ 492 h 492"/>
                  <a:gd name="T38" fmla="*/ 184 w 198"/>
                  <a:gd name="T39" fmla="*/ 488 h 492"/>
                  <a:gd name="T40" fmla="*/ 181 w 198"/>
                  <a:gd name="T41" fmla="*/ 485 h 492"/>
                  <a:gd name="T42" fmla="*/ 176 w 198"/>
                  <a:gd name="T43" fmla="*/ 479 h 492"/>
                  <a:gd name="T44" fmla="*/ 168 w 198"/>
                  <a:gd name="T45" fmla="*/ 473 h 492"/>
                  <a:gd name="T46" fmla="*/ 164 w 198"/>
                  <a:gd name="T47" fmla="*/ 468 h 492"/>
                  <a:gd name="T48" fmla="*/ 187 w 198"/>
                  <a:gd name="T49" fmla="*/ 468 h 492"/>
                  <a:gd name="T50" fmla="*/ 198 w 198"/>
                  <a:gd name="T51" fmla="*/ 421 h 492"/>
                  <a:gd name="T52" fmla="*/ 140 w 198"/>
                  <a:gd name="T53" fmla="*/ 421 h 492"/>
                  <a:gd name="T54" fmla="*/ 140 w 198"/>
                  <a:gd name="T55" fmla="*/ 153 h 492"/>
                  <a:gd name="T56" fmla="*/ 140 w 198"/>
                  <a:gd name="T57" fmla="*/ 153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8" h="492">
                    <a:moveTo>
                      <a:pt x="140" y="153"/>
                    </a:moveTo>
                    <a:lnTo>
                      <a:pt x="164" y="153"/>
                    </a:lnTo>
                    <a:lnTo>
                      <a:pt x="164" y="129"/>
                    </a:lnTo>
                    <a:lnTo>
                      <a:pt x="150" y="129"/>
                    </a:lnTo>
                    <a:lnTo>
                      <a:pt x="140" y="0"/>
                    </a:lnTo>
                    <a:lnTo>
                      <a:pt x="58" y="0"/>
                    </a:lnTo>
                    <a:lnTo>
                      <a:pt x="47" y="129"/>
                    </a:lnTo>
                    <a:lnTo>
                      <a:pt x="34" y="129"/>
                    </a:lnTo>
                    <a:lnTo>
                      <a:pt x="34" y="153"/>
                    </a:lnTo>
                    <a:lnTo>
                      <a:pt x="58" y="153"/>
                    </a:lnTo>
                    <a:lnTo>
                      <a:pt x="58" y="421"/>
                    </a:lnTo>
                    <a:lnTo>
                      <a:pt x="0" y="421"/>
                    </a:lnTo>
                    <a:lnTo>
                      <a:pt x="11" y="468"/>
                    </a:lnTo>
                    <a:lnTo>
                      <a:pt x="34" y="468"/>
                    </a:lnTo>
                    <a:lnTo>
                      <a:pt x="28" y="473"/>
                    </a:lnTo>
                    <a:lnTo>
                      <a:pt x="22" y="479"/>
                    </a:lnTo>
                    <a:lnTo>
                      <a:pt x="15" y="485"/>
                    </a:lnTo>
                    <a:lnTo>
                      <a:pt x="11" y="492"/>
                    </a:lnTo>
                    <a:lnTo>
                      <a:pt x="187" y="492"/>
                    </a:lnTo>
                    <a:lnTo>
                      <a:pt x="184" y="488"/>
                    </a:lnTo>
                    <a:lnTo>
                      <a:pt x="181" y="485"/>
                    </a:lnTo>
                    <a:lnTo>
                      <a:pt x="176" y="479"/>
                    </a:lnTo>
                    <a:lnTo>
                      <a:pt x="168" y="473"/>
                    </a:lnTo>
                    <a:lnTo>
                      <a:pt x="164" y="468"/>
                    </a:lnTo>
                    <a:lnTo>
                      <a:pt x="187" y="468"/>
                    </a:lnTo>
                    <a:lnTo>
                      <a:pt x="198" y="421"/>
                    </a:lnTo>
                    <a:lnTo>
                      <a:pt x="140" y="421"/>
                    </a:lnTo>
                    <a:lnTo>
                      <a:pt x="140" y="153"/>
                    </a:lnTo>
                    <a:lnTo>
                      <a:pt x="140" y="153"/>
                    </a:lnTo>
                    <a:close/>
                  </a:path>
                </a:pathLst>
              </a:custGeom>
              <a:solidFill>
                <a:schemeClr val="bg1"/>
              </a:solidFill>
              <a:ln w="19050">
                <a:solidFill>
                  <a:schemeClr val="accent3"/>
                </a:solidFill>
                <a:round/>
                <a:headEnd/>
                <a:tailEnd/>
              </a:ln>
              <a:extLst/>
            </p:spPr>
            <p:txBody>
              <a:bodyPr vert="horz" wrap="square" lIns="89619" tIns="44809" rIns="89619" bIns="44809" numCol="1" anchor="t" anchorCtr="0" compatLnSpc="1">
                <a:prstTxWarp prst="textNoShape">
                  <a:avLst/>
                </a:prstTxWarp>
              </a:bodyPr>
              <a:lstStyle/>
              <a:p>
                <a:pPr defTabSz="896118"/>
                <a:endParaRPr lang="en-US" sz="1764" kern="0">
                  <a:solidFill>
                    <a:prstClr val="black"/>
                  </a:solidFill>
                </a:endParaRPr>
              </a:p>
            </p:txBody>
          </p:sp>
        </p:grpSp>
        <p:sp>
          <p:nvSpPr>
            <p:cNvPr id="102" name="TextBox 101"/>
            <p:cNvSpPr txBox="1"/>
            <p:nvPr/>
          </p:nvSpPr>
          <p:spPr>
            <a:xfrm rot="18855593">
              <a:off x="1266027" y="2932442"/>
              <a:ext cx="297328" cy="112129"/>
            </a:xfrm>
            <a:prstGeom prst="rect">
              <a:avLst/>
            </a:prstGeom>
            <a:noFill/>
          </p:spPr>
          <p:txBody>
            <a:bodyPr wrap="none" lIns="0" tIns="0" rIns="0" bIns="0" rtlCol="0" anchor="ctr">
              <a:noAutofit/>
            </a:bodyPr>
            <a:lstStyle/>
            <a:p>
              <a:pPr algn="ctr" defTabSz="896386">
                <a:spcAft>
                  <a:spcPts val="588"/>
                </a:spcAft>
              </a:pPr>
              <a:r>
                <a:rPr lang="en-IN" sz="1568" b="1" kern="0" dirty="0">
                  <a:solidFill>
                    <a:srgbClr val="68217A"/>
                  </a:solidFill>
                </a:rPr>
                <a:t>Azure</a:t>
              </a:r>
            </a:p>
          </p:txBody>
        </p:sp>
        <p:sp>
          <p:nvSpPr>
            <p:cNvPr id="103" name="TextBox 102"/>
            <p:cNvSpPr txBox="1"/>
            <p:nvPr/>
          </p:nvSpPr>
          <p:spPr>
            <a:xfrm>
              <a:off x="1020114" y="3437459"/>
              <a:ext cx="297328" cy="112129"/>
            </a:xfrm>
            <a:prstGeom prst="rect">
              <a:avLst/>
            </a:prstGeom>
            <a:noFill/>
          </p:spPr>
          <p:txBody>
            <a:bodyPr wrap="none" lIns="0" tIns="0" rIns="0" bIns="0" rtlCol="0" anchor="ctr">
              <a:noAutofit/>
            </a:bodyPr>
            <a:lstStyle/>
            <a:p>
              <a:pPr algn="ctr" defTabSz="896386">
                <a:spcAft>
                  <a:spcPts val="588"/>
                </a:spcAft>
              </a:pPr>
              <a:r>
                <a:rPr lang="en-IN" sz="1961" kern="0" dirty="0">
                  <a:solidFill>
                    <a:srgbClr val="FFFFFF"/>
                  </a:solidFill>
                  <a:latin typeface="Segoe UI Semibold" panose="020B0702040204020203" pitchFamily="34" charset="0"/>
                  <a:cs typeface="Segoe UI Semibold" panose="020B0702040204020203" pitchFamily="34" charset="0"/>
                </a:rPr>
                <a:t>SDK</a:t>
              </a:r>
            </a:p>
          </p:txBody>
        </p:sp>
      </p:grpSp>
      <p:grpSp>
        <p:nvGrpSpPr>
          <p:cNvPr id="74" name="Group 73"/>
          <p:cNvGrpSpPr/>
          <p:nvPr/>
        </p:nvGrpSpPr>
        <p:grpSpPr>
          <a:xfrm>
            <a:off x="9719156" y="2136878"/>
            <a:ext cx="1329487" cy="1513298"/>
            <a:chOff x="6837733" y="2174627"/>
            <a:chExt cx="1471848" cy="1675342"/>
          </a:xfrm>
          <a:solidFill>
            <a:schemeClr val="bg1"/>
          </a:solidFill>
        </p:grpSpPr>
        <p:sp>
          <p:nvSpPr>
            <p:cNvPr id="75" name="Round Diagonal Corner Rectangle 53"/>
            <p:cNvSpPr/>
            <p:nvPr/>
          </p:nvSpPr>
          <p:spPr bwMode="auto">
            <a:xfrm>
              <a:off x="6837733" y="2174627"/>
              <a:ext cx="1471848" cy="1675342"/>
            </a:xfrm>
            <a:custGeom>
              <a:avLst/>
              <a:gdLst/>
              <a:ahLst/>
              <a:cxnLst/>
              <a:rect l="l" t="t" r="r" b="b"/>
              <a:pathLst>
                <a:path w="1069848" h="1217762">
                  <a:moveTo>
                    <a:pt x="859964" y="887952"/>
                  </a:moveTo>
                  <a:cubicBezTo>
                    <a:pt x="859964" y="887952"/>
                    <a:pt x="859964" y="887952"/>
                    <a:pt x="859964" y="887953"/>
                  </a:cubicBezTo>
                  <a:lnTo>
                    <a:pt x="859964" y="887953"/>
                  </a:lnTo>
                  <a:close/>
                  <a:moveTo>
                    <a:pt x="823054" y="851043"/>
                  </a:moveTo>
                  <a:lnTo>
                    <a:pt x="246792" y="851043"/>
                  </a:lnTo>
                  <a:cubicBezTo>
                    <a:pt x="226407" y="851043"/>
                    <a:pt x="209882" y="867568"/>
                    <a:pt x="209882" y="887953"/>
                  </a:cubicBezTo>
                  <a:lnTo>
                    <a:pt x="209883" y="887953"/>
                  </a:lnTo>
                  <a:cubicBezTo>
                    <a:pt x="209883" y="908338"/>
                    <a:pt x="226408" y="924863"/>
                    <a:pt x="246793" y="924863"/>
                  </a:cubicBezTo>
                  <a:lnTo>
                    <a:pt x="823054" y="924862"/>
                  </a:lnTo>
                  <a:cubicBezTo>
                    <a:pt x="843439" y="924862"/>
                    <a:pt x="859964" y="908337"/>
                    <a:pt x="859964" y="887953"/>
                  </a:cubicBezTo>
                  <a:cubicBezTo>
                    <a:pt x="859964" y="867568"/>
                    <a:pt x="843439" y="851043"/>
                    <a:pt x="823054" y="851043"/>
                  </a:cubicBezTo>
                  <a:close/>
                  <a:moveTo>
                    <a:pt x="859964" y="716502"/>
                  </a:moveTo>
                  <a:lnTo>
                    <a:pt x="859964" y="716503"/>
                  </a:lnTo>
                  <a:lnTo>
                    <a:pt x="859964" y="716503"/>
                  </a:lnTo>
                  <a:close/>
                  <a:moveTo>
                    <a:pt x="823054" y="679593"/>
                  </a:moveTo>
                  <a:lnTo>
                    <a:pt x="246792" y="679593"/>
                  </a:lnTo>
                  <a:cubicBezTo>
                    <a:pt x="226407" y="679593"/>
                    <a:pt x="209882" y="696118"/>
                    <a:pt x="209882" y="716503"/>
                  </a:cubicBezTo>
                  <a:lnTo>
                    <a:pt x="209883" y="716503"/>
                  </a:lnTo>
                  <a:cubicBezTo>
                    <a:pt x="209883" y="736888"/>
                    <a:pt x="226408" y="753413"/>
                    <a:pt x="246793" y="753413"/>
                  </a:cubicBezTo>
                  <a:lnTo>
                    <a:pt x="823054" y="753412"/>
                  </a:lnTo>
                  <a:cubicBezTo>
                    <a:pt x="843439" y="753412"/>
                    <a:pt x="859964" y="736887"/>
                    <a:pt x="859964" y="716503"/>
                  </a:cubicBezTo>
                  <a:cubicBezTo>
                    <a:pt x="859964" y="696118"/>
                    <a:pt x="843439" y="679593"/>
                    <a:pt x="823054" y="679593"/>
                  </a:cubicBezTo>
                  <a:close/>
                  <a:moveTo>
                    <a:pt x="859964" y="545051"/>
                  </a:moveTo>
                  <a:lnTo>
                    <a:pt x="859964" y="545052"/>
                  </a:lnTo>
                  <a:lnTo>
                    <a:pt x="859964" y="545052"/>
                  </a:lnTo>
                  <a:close/>
                  <a:moveTo>
                    <a:pt x="823054" y="508142"/>
                  </a:moveTo>
                  <a:lnTo>
                    <a:pt x="246792" y="508142"/>
                  </a:lnTo>
                  <a:cubicBezTo>
                    <a:pt x="226407" y="508142"/>
                    <a:pt x="209882" y="524667"/>
                    <a:pt x="209882" y="545052"/>
                  </a:cubicBezTo>
                  <a:lnTo>
                    <a:pt x="209883" y="545052"/>
                  </a:lnTo>
                  <a:cubicBezTo>
                    <a:pt x="209883" y="565437"/>
                    <a:pt x="226408" y="581962"/>
                    <a:pt x="246793" y="581962"/>
                  </a:cubicBezTo>
                  <a:lnTo>
                    <a:pt x="823054" y="581961"/>
                  </a:lnTo>
                  <a:cubicBezTo>
                    <a:pt x="843439" y="581961"/>
                    <a:pt x="859964" y="565436"/>
                    <a:pt x="859964" y="545052"/>
                  </a:cubicBezTo>
                  <a:cubicBezTo>
                    <a:pt x="859964" y="524667"/>
                    <a:pt x="843439" y="508142"/>
                    <a:pt x="823054" y="508142"/>
                  </a:cubicBezTo>
                  <a:close/>
                  <a:moveTo>
                    <a:pt x="607552" y="375982"/>
                  </a:moveTo>
                  <a:lnTo>
                    <a:pt x="607552" y="375983"/>
                  </a:lnTo>
                  <a:lnTo>
                    <a:pt x="607552" y="375983"/>
                  </a:lnTo>
                  <a:close/>
                  <a:moveTo>
                    <a:pt x="570642" y="339073"/>
                  </a:moveTo>
                  <a:lnTo>
                    <a:pt x="246792" y="339073"/>
                  </a:lnTo>
                  <a:cubicBezTo>
                    <a:pt x="226407" y="339073"/>
                    <a:pt x="209882" y="355598"/>
                    <a:pt x="209882" y="375983"/>
                  </a:cubicBezTo>
                  <a:lnTo>
                    <a:pt x="209883" y="375983"/>
                  </a:lnTo>
                  <a:cubicBezTo>
                    <a:pt x="209883" y="396368"/>
                    <a:pt x="226408" y="412893"/>
                    <a:pt x="246793" y="412893"/>
                  </a:cubicBezTo>
                  <a:lnTo>
                    <a:pt x="570642" y="412892"/>
                  </a:lnTo>
                  <a:cubicBezTo>
                    <a:pt x="591027" y="412892"/>
                    <a:pt x="607552" y="396367"/>
                    <a:pt x="607552" y="375983"/>
                  </a:cubicBezTo>
                  <a:cubicBezTo>
                    <a:pt x="607552" y="355598"/>
                    <a:pt x="591027" y="339073"/>
                    <a:pt x="570642" y="339073"/>
                  </a:cubicBezTo>
                  <a:close/>
                  <a:moveTo>
                    <a:pt x="679213" y="74747"/>
                  </a:moveTo>
                  <a:lnTo>
                    <a:pt x="679213" y="291168"/>
                  </a:lnTo>
                  <a:cubicBezTo>
                    <a:pt x="679213" y="325515"/>
                    <a:pt x="707057" y="353359"/>
                    <a:pt x="741404" y="353359"/>
                  </a:cubicBezTo>
                  <a:lnTo>
                    <a:pt x="992124" y="353359"/>
                  </a:lnTo>
                  <a:lnTo>
                    <a:pt x="992124" y="1044200"/>
                  </a:lnTo>
                  <a:cubicBezTo>
                    <a:pt x="992124" y="1097470"/>
                    <a:pt x="971294" y="1150179"/>
                    <a:pt x="897731" y="1140654"/>
                  </a:cubicBezTo>
                  <a:lnTo>
                    <a:pt x="77724" y="1140654"/>
                  </a:lnTo>
                  <a:lnTo>
                    <a:pt x="77724" y="173562"/>
                  </a:lnTo>
                  <a:cubicBezTo>
                    <a:pt x="80105" y="89336"/>
                    <a:pt x="119986" y="77108"/>
                    <a:pt x="172117" y="77108"/>
                  </a:cubicBezTo>
                  <a:close/>
                  <a:moveTo>
                    <a:pt x="733418" y="0"/>
                  </a:moveTo>
                  <a:lnTo>
                    <a:pt x="110440" y="0"/>
                  </a:lnTo>
                  <a:cubicBezTo>
                    <a:pt x="49446" y="0"/>
                    <a:pt x="0" y="49446"/>
                    <a:pt x="0" y="110440"/>
                  </a:cubicBezTo>
                  <a:lnTo>
                    <a:pt x="0" y="1217762"/>
                  </a:lnTo>
                  <a:lnTo>
                    <a:pt x="959408" y="1217762"/>
                  </a:lnTo>
                  <a:cubicBezTo>
                    <a:pt x="1020402" y="1217762"/>
                    <a:pt x="1069848" y="1168316"/>
                    <a:pt x="1069848" y="1107322"/>
                  </a:cubicBezTo>
                  <a:lnTo>
                    <a:pt x="1069848" y="31055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1568" kern="0"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76" name="Freeform 75"/>
            <p:cNvSpPr/>
            <p:nvPr/>
          </p:nvSpPr>
          <p:spPr>
            <a:xfrm>
              <a:off x="6994807" y="2866587"/>
              <a:ext cx="133533" cy="112613"/>
            </a:xfrm>
            <a:custGeom>
              <a:avLst/>
              <a:gdLst>
                <a:gd name="connsiteX0" fmla="*/ 7143 w 1271587"/>
                <a:gd name="connsiteY0" fmla="*/ 604837 h 1064418"/>
                <a:gd name="connsiteX1" fmla="*/ 426243 w 1271587"/>
                <a:gd name="connsiteY1" fmla="*/ 1064418 h 1064418"/>
                <a:gd name="connsiteX2" fmla="*/ 528637 w 1271587"/>
                <a:gd name="connsiteY2" fmla="*/ 1054893 h 1064418"/>
                <a:gd name="connsiteX3" fmla="*/ 1254918 w 1271587"/>
                <a:gd name="connsiteY3" fmla="*/ 273843 h 1064418"/>
                <a:gd name="connsiteX4" fmla="*/ 1271587 w 1271587"/>
                <a:gd name="connsiteY4" fmla="*/ 178593 h 1064418"/>
                <a:gd name="connsiteX5" fmla="*/ 1131093 w 1271587"/>
                <a:gd name="connsiteY5" fmla="*/ 0 h 1064418"/>
                <a:gd name="connsiteX6" fmla="*/ 1038225 w 1271587"/>
                <a:gd name="connsiteY6" fmla="*/ 2381 h 1064418"/>
                <a:gd name="connsiteX7" fmla="*/ 457200 w 1271587"/>
                <a:gd name="connsiteY7" fmla="*/ 595312 h 1064418"/>
                <a:gd name="connsiteX8" fmla="*/ 238125 w 1271587"/>
                <a:gd name="connsiteY8" fmla="*/ 373856 h 1064418"/>
                <a:gd name="connsiteX9" fmla="*/ 126206 w 1271587"/>
                <a:gd name="connsiteY9" fmla="*/ 371475 h 1064418"/>
                <a:gd name="connsiteX10" fmla="*/ 0 w 1271587"/>
                <a:gd name="connsiteY10" fmla="*/ 531018 h 1064418"/>
                <a:gd name="connsiteX11" fmla="*/ 7143 w 1271587"/>
                <a:gd name="connsiteY11" fmla="*/ 604837 h 1064418"/>
                <a:gd name="connsiteX0" fmla="*/ 7143 w 1271587"/>
                <a:gd name="connsiteY0" fmla="*/ 604837 h 1067977"/>
                <a:gd name="connsiteX1" fmla="*/ 426243 w 1271587"/>
                <a:gd name="connsiteY1" fmla="*/ 1064418 h 1067977"/>
                <a:gd name="connsiteX2" fmla="*/ 528637 w 1271587"/>
                <a:gd name="connsiteY2" fmla="*/ 1054893 h 1067977"/>
                <a:gd name="connsiteX3" fmla="*/ 1254918 w 1271587"/>
                <a:gd name="connsiteY3" fmla="*/ 273843 h 1067977"/>
                <a:gd name="connsiteX4" fmla="*/ 1271587 w 1271587"/>
                <a:gd name="connsiteY4" fmla="*/ 178593 h 1067977"/>
                <a:gd name="connsiteX5" fmla="*/ 1131093 w 1271587"/>
                <a:gd name="connsiteY5" fmla="*/ 0 h 1067977"/>
                <a:gd name="connsiteX6" fmla="*/ 1038225 w 1271587"/>
                <a:gd name="connsiteY6" fmla="*/ 2381 h 1067977"/>
                <a:gd name="connsiteX7" fmla="*/ 457200 w 1271587"/>
                <a:gd name="connsiteY7" fmla="*/ 595312 h 1067977"/>
                <a:gd name="connsiteX8" fmla="*/ 238125 w 1271587"/>
                <a:gd name="connsiteY8" fmla="*/ 373856 h 1067977"/>
                <a:gd name="connsiteX9" fmla="*/ 126206 w 1271587"/>
                <a:gd name="connsiteY9" fmla="*/ 371475 h 1067977"/>
                <a:gd name="connsiteX10" fmla="*/ 0 w 1271587"/>
                <a:gd name="connsiteY10" fmla="*/ 531018 h 1067977"/>
                <a:gd name="connsiteX11" fmla="*/ 7143 w 1271587"/>
                <a:gd name="connsiteY11" fmla="*/ 604837 h 1067977"/>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5066"/>
                <a:gd name="connsiteY0" fmla="*/ 604837 h 1077089"/>
                <a:gd name="connsiteX1" fmla="*/ 426243 w 1275066"/>
                <a:gd name="connsiteY1" fmla="*/ 1064418 h 1077089"/>
                <a:gd name="connsiteX2" fmla="*/ 528637 w 1275066"/>
                <a:gd name="connsiteY2" fmla="*/ 1054893 h 1077089"/>
                <a:gd name="connsiteX3" fmla="*/ 1254918 w 1275066"/>
                <a:gd name="connsiteY3" fmla="*/ 273843 h 1077089"/>
                <a:gd name="connsiteX4" fmla="*/ 1271587 w 1275066"/>
                <a:gd name="connsiteY4" fmla="*/ 178593 h 1077089"/>
                <a:gd name="connsiteX5" fmla="*/ 1131093 w 1275066"/>
                <a:gd name="connsiteY5" fmla="*/ 0 h 1077089"/>
                <a:gd name="connsiteX6" fmla="*/ 1038225 w 1275066"/>
                <a:gd name="connsiteY6" fmla="*/ 2381 h 1077089"/>
                <a:gd name="connsiteX7" fmla="*/ 457200 w 1275066"/>
                <a:gd name="connsiteY7" fmla="*/ 595312 h 1077089"/>
                <a:gd name="connsiteX8" fmla="*/ 238125 w 1275066"/>
                <a:gd name="connsiteY8" fmla="*/ 373856 h 1077089"/>
                <a:gd name="connsiteX9" fmla="*/ 126206 w 1275066"/>
                <a:gd name="connsiteY9" fmla="*/ 371475 h 1077089"/>
                <a:gd name="connsiteX10" fmla="*/ 0 w 1275066"/>
                <a:gd name="connsiteY10" fmla="*/ 531018 h 1077089"/>
                <a:gd name="connsiteX11" fmla="*/ 7143 w 1275066"/>
                <a:gd name="connsiteY11" fmla="*/ 604837 h 1077089"/>
                <a:gd name="connsiteX0" fmla="*/ 7143 w 1280284"/>
                <a:gd name="connsiteY0" fmla="*/ 604837 h 1077089"/>
                <a:gd name="connsiteX1" fmla="*/ 426243 w 1280284"/>
                <a:gd name="connsiteY1" fmla="*/ 1064418 h 1077089"/>
                <a:gd name="connsiteX2" fmla="*/ 528637 w 1280284"/>
                <a:gd name="connsiteY2" fmla="*/ 1054893 h 1077089"/>
                <a:gd name="connsiteX3" fmla="*/ 1254918 w 1280284"/>
                <a:gd name="connsiteY3" fmla="*/ 273843 h 1077089"/>
                <a:gd name="connsiteX4" fmla="*/ 1271587 w 1280284"/>
                <a:gd name="connsiteY4" fmla="*/ 178593 h 1077089"/>
                <a:gd name="connsiteX5" fmla="*/ 1131093 w 1280284"/>
                <a:gd name="connsiteY5" fmla="*/ 0 h 1077089"/>
                <a:gd name="connsiteX6" fmla="*/ 1038225 w 1280284"/>
                <a:gd name="connsiteY6" fmla="*/ 2381 h 1077089"/>
                <a:gd name="connsiteX7" fmla="*/ 457200 w 1280284"/>
                <a:gd name="connsiteY7" fmla="*/ 595312 h 1077089"/>
                <a:gd name="connsiteX8" fmla="*/ 238125 w 1280284"/>
                <a:gd name="connsiteY8" fmla="*/ 373856 h 1077089"/>
                <a:gd name="connsiteX9" fmla="*/ 126206 w 1280284"/>
                <a:gd name="connsiteY9" fmla="*/ 371475 h 1077089"/>
                <a:gd name="connsiteX10" fmla="*/ 0 w 1280284"/>
                <a:gd name="connsiteY10" fmla="*/ 531018 h 1077089"/>
                <a:gd name="connsiteX11" fmla="*/ 7143 w 1280284"/>
                <a:gd name="connsiteY11" fmla="*/ 604837 h 1077089"/>
                <a:gd name="connsiteX0" fmla="*/ 7143 w 1282209"/>
                <a:gd name="connsiteY0" fmla="*/ 604837 h 1077089"/>
                <a:gd name="connsiteX1" fmla="*/ 426243 w 1282209"/>
                <a:gd name="connsiteY1" fmla="*/ 1064418 h 1077089"/>
                <a:gd name="connsiteX2" fmla="*/ 528637 w 1282209"/>
                <a:gd name="connsiteY2" fmla="*/ 1054893 h 1077089"/>
                <a:gd name="connsiteX3" fmla="*/ 1254918 w 1282209"/>
                <a:gd name="connsiteY3" fmla="*/ 273843 h 1077089"/>
                <a:gd name="connsiteX4" fmla="*/ 1271587 w 1282209"/>
                <a:gd name="connsiteY4" fmla="*/ 178593 h 1077089"/>
                <a:gd name="connsiteX5" fmla="*/ 1131093 w 1282209"/>
                <a:gd name="connsiteY5" fmla="*/ 0 h 1077089"/>
                <a:gd name="connsiteX6" fmla="*/ 1038225 w 1282209"/>
                <a:gd name="connsiteY6" fmla="*/ 2381 h 1077089"/>
                <a:gd name="connsiteX7" fmla="*/ 457200 w 1282209"/>
                <a:gd name="connsiteY7" fmla="*/ 595312 h 1077089"/>
                <a:gd name="connsiteX8" fmla="*/ 238125 w 1282209"/>
                <a:gd name="connsiteY8" fmla="*/ 373856 h 1077089"/>
                <a:gd name="connsiteX9" fmla="*/ 126206 w 1282209"/>
                <a:gd name="connsiteY9" fmla="*/ 371475 h 1077089"/>
                <a:gd name="connsiteX10" fmla="*/ 0 w 1282209"/>
                <a:gd name="connsiteY10" fmla="*/ 531018 h 1077089"/>
                <a:gd name="connsiteX11" fmla="*/ 7143 w 1282209"/>
                <a:gd name="connsiteY11" fmla="*/ 604837 h 1077089"/>
                <a:gd name="connsiteX0" fmla="*/ 7143 w 1282209"/>
                <a:gd name="connsiteY0" fmla="*/ 602456 h 1074708"/>
                <a:gd name="connsiteX1" fmla="*/ 426243 w 1282209"/>
                <a:gd name="connsiteY1" fmla="*/ 1062037 h 1074708"/>
                <a:gd name="connsiteX2" fmla="*/ 528637 w 1282209"/>
                <a:gd name="connsiteY2" fmla="*/ 1052512 h 1074708"/>
                <a:gd name="connsiteX3" fmla="*/ 1254918 w 1282209"/>
                <a:gd name="connsiteY3" fmla="*/ 271462 h 1074708"/>
                <a:gd name="connsiteX4" fmla="*/ 1271587 w 1282209"/>
                <a:gd name="connsiteY4" fmla="*/ 176212 h 1074708"/>
                <a:gd name="connsiteX5" fmla="*/ 1145381 w 1282209"/>
                <a:gd name="connsiteY5" fmla="*/ 4763 h 1074708"/>
                <a:gd name="connsiteX6" fmla="*/ 1038225 w 1282209"/>
                <a:gd name="connsiteY6" fmla="*/ 0 h 1074708"/>
                <a:gd name="connsiteX7" fmla="*/ 457200 w 1282209"/>
                <a:gd name="connsiteY7" fmla="*/ 592931 h 1074708"/>
                <a:gd name="connsiteX8" fmla="*/ 238125 w 1282209"/>
                <a:gd name="connsiteY8" fmla="*/ 371475 h 1074708"/>
                <a:gd name="connsiteX9" fmla="*/ 126206 w 1282209"/>
                <a:gd name="connsiteY9" fmla="*/ 369094 h 1074708"/>
                <a:gd name="connsiteX10" fmla="*/ 0 w 1282209"/>
                <a:gd name="connsiteY10" fmla="*/ 528637 h 1074708"/>
                <a:gd name="connsiteX11" fmla="*/ 7143 w 1282209"/>
                <a:gd name="connsiteY11" fmla="*/ 602456 h 1074708"/>
                <a:gd name="connsiteX0" fmla="*/ 7143 w 1282209"/>
                <a:gd name="connsiteY0" fmla="*/ 613102 h 1085354"/>
                <a:gd name="connsiteX1" fmla="*/ 426243 w 1282209"/>
                <a:gd name="connsiteY1" fmla="*/ 1072683 h 1085354"/>
                <a:gd name="connsiteX2" fmla="*/ 528637 w 1282209"/>
                <a:gd name="connsiteY2" fmla="*/ 1063158 h 1085354"/>
                <a:gd name="connsiteX3" fmla="*/ 1254918 w 1282209"/>
                <a:gd name="connsiteY3" fmla="*/ 282108 h 1085354"/>
                <a:gd name="connsiteX4" fmla="*/ 1271587 w 1282209"/>
                <a:gd name="connsiteY4" fmla="*/ 186858 h 1085354"/>
                <a:gd name="connsiteX5" fmla="*/ 1145381 w 1282209"/>
                <a:gd name="connsiteY5" fmla="*/ 15409 h 1085354"/>
                <a:gd name="connsiteX6" fmla="*/ 1038225 w 1282209"/>
                <a:gd name="connsiteY6" fmla="*/ 10646 h 1085354"/>
                <a:gd name="connsiteX7" fmla="*/ 457200 w 1282209"/>
                <a:gd name="connsiteY7" fmla="*/ 603577 h 1085354"/>
                <a:gd name="connsiteX8" fmla="*/ 238125 w 1282209"/>
                <a:gd name="connsiteY8" fmla="*/ 382121 h 1085354"/>
                <a:gd name="connsiteX9" fmla="*/ 126206 w 1282209"/>
                <a:gd name="connsiteY9" fmla="*/ 379740 h 1085354"/>
                <a:gd name="connsiteX10" fmla="*/ 0 w 1282209"/>
                <a:gd name="connsiteY10" fmla="*/ 539283 h 1085354"/>
                <a:gd name="connsiteX11" fmla="*/ 7143 w 1282209"/>
                <a:gd name="connsiteY11" fmla="*/ 613102 h 1085354"/>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11641 w 1286707"/>
                <a:gd name="connsiteY0" fmla="*/ 618884 h 1091136"/>
                <a:gd name="connsiteX1" fmla="*/ 430741 w 1286707"/>
                <a:gd name="connsiteY1" fmla="*/ 1078465 h 1091136"/>
                <a:gd name="connsiteX2" fmla="*/ 533135 w 1286707"/>
                <a:gd name="connsiteY2" fmla="*/ 1068940 h 1091136"/>
                <a:gd name="connsiteX3" fmla="*/ 1259416 w 1286707"/>
                <a:gd name="connsiteY3" fmla="*/ 287890 h 1091136"/>
                <a:gd name="connsiteX4" fmla="*/ 1276085 w 1286707"/>
                <a:gd name="connsiteY4" fmla="*/ 192640 h 1091136"/>
                <a:gd name="connsiteX5" fmla="*/ 1149879 w 1286707"/>
                <a:gd name="connsiteY5" fmla="*/ 21191 h 1091136"/>
                <a:gd name="connsiteX6" fmla="*/ 1042723 w 1286707"/>
                <a:gd name="connsiteY6" fmla="*/ 16428 h 1091136"/>
                <a:gd name="connsiteX7" fmla="*/ 461698 w 1286707"/>
                <a:gd name="connsiteY7" fmla="*/ 609359 h 1091136"/>
                <a:gd name="connsiteX8" fmla="*/ 242623 w 1286707"/>
                <a:gd name="connsiteY8" fmla="*/ 387903 h 1091136"/>
                <a:gd name="connsiteX9" fmla="*/ 130704 w 1286707"/>
                <a:gd name="connsiteY9" fmla="*/ 385522 h 1091136"/>
                <a:gd name="connsiteX10" fmla="*/ 11641 w 1286707"/>
                <a:gd name="connsiteY10" fmla="*/ 523633 h 1091136"/>
                <a:gd name="connsiteX11" fmla="*/ 11641 w 1286707"/>
                <a:gd name="connsiteY11" fmla="*/ 618884 h 1091136"/>
                <a:gd name="connsiteX0" fmla="*/ 19645 w 1294711"/>
                <a:gd name="connsiteY0" fmla="*/ 618884 h 1091136"/>
                <a:gd name="connsiteX1" fmla="*/ 438745 w 1294711"/>
                <a:gd name="connsiteY1" fmla="*/ 1078465 h 1091136"/>
                <a:gd name="connsiteX2" fmla="*/ 541139 w 1294711"/>
                <a:gd name="connsiteY2" fmla="*/ 1068940 h 1091136"/>
                <a:gd name="connsiteX3" fmla="*/ 1267420 w 1294711"/>
                <a:gd name="connsiteY3" fmla="*/ 287890 h 1091136"/>
                <a:gd name="connsiteX4" fmla="*/ 1284089 w 1294711"/>
                <a:gd name="connsiteY4" fmla="*/ 192640 h 1091136"/>
                <a:gd name="connsiteX5" fmla="*/ 1157883 w 1294711"/>
                <a:gd name="connsiteY5" fmla="*/ 21191 h 1091136"/>
                <a:gd name="connsiteX6" fmla="*/ 1050727 w 1294711"/>
                <a:gd name="connsiteY6" fmla="*/ 16428 h 1091136"/>
                <a:gd name="connsiteX7" fmla="*/ 469702 w 1294711"/>
                <a:gd name="connsiteY7" fmla="*/ 609359 h 1091136"/>
                <a:gd name="connsiteX8" fmla="*/ 250627 w 1294711"/>
                <a:gd name="connsiteY8" fmla="*/ 387903 h 1091136"/>
                <a:gd name="connsiteX9" fmla="*/ 138708 w 1294711"/>
                <a:gd name="connsiteY9" fmla="*/ 385522 h 1091136"/>
                <a:gd name="connsiteX10" fmla="*/ 19645 w 1294711"/>
                <a:gd name="connsiteY10" fmla="*/ 523633 h 1091136"/>
                <a:gd name="connsiteX11" fmla="*/ 19645 w 1294711"/>
                <a:gd name="connsiteY11" fmla="*/ 618884 h 1091136"/>
                <a:gd name="connsiteX0" fmla="*/ 18763 w 1293829"/>
                <a:gd name="connsiteY0" fmla="*/ 618884 h 1091136"/>
                <a:gd name="connsiteX1" fmla="*/ 437863 w 1293829"/>
                <a:gd name="connsiteY1" fmla="*/ 1078465 h 1091136"/>
                <a:gd name="connsiteX2" fmla="*/ 540257 w 1293829"/>
                <a:gd name="connsiteY2" fmla="*/ 1068940 h 1091136"/>
                <a:gd name="connsiteX3" fmla="*/ 1266538 w 1293829"/>
                <a:gd name="connsiteY3" fmla="*/ 287890 h 1091136"/>
                <a:gd name="connsiteX4" fmla="*/ 1283207 w 1293829"/>
                <a:gd name="connsiteY4" fmla="*/ 192640 h 1091136"/>
                <a:gd name="connsiteX5" fmla="*/ 1157001 w 1293829"/>
                <a:gd name="connsiteY5" fmla="*/ 21191 h 1091136"/>
                <a:gd name="connsiteX6" fmla="*/ 1049845 w 1293829"/>
                <a:gd name="connsiteY6" fmla="*/ 16428 h 1091136"/>
                <a:gd name="connsiteX7" fmla="*/ 468820 w 1293829"/>
                <a:gd name="connsiteY7" fmla="*/ 609359 h 1091136"/>
                <a:gd name="connsiteX8" fmla="*/ 249745 w 1293829"/>
                <a:gd name="connsiteY8" fmla="*/ 387903 h 1091136"/>
                <a:gd name="connsiteX9" fmla="*/ 137826 w 1293829"/>
                <a:gd name="connsiteY9" fmla="*/ 385522 h 1091136"/>
                <a:gd name="connsiteX10" fmla="*/ 18763 w 1293829"/>
                <a:gd name="connsiteY10" fmla="*/ 523633 h 1091136"/>
                <a:gd name="connsiteX11" fmla="*/ 18763 w 1293829"/>
                <a:gd name="connsiteY11" fmla="*/ 618884 h 109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3829" h="1091136">
                  <a:moveTo>
                    <a:pt x="18763" y="618884"/>
                  </a:moveTo>
                  <a:lnTo>
                    <a:pt x="437863" y="1078465"/>
                  </a:lnTo>
                  <a:cubicBezTo>
                    <a:pt x="474375" y="1099102"/>
                    <a:pt x="498981" y="1093547"/>
                    <a:pt x="540257" y="1068940"/>
                  </a:cubicBezTo>
                  <a:cubicBezTo>
                    <a:pt x="782351" y="718103"/>
                    <a:pt x="1067307" y="429177"/>
                    <a:pt x="1266538" y="287890"/>
                  </a:cubicBezTo>
                  <a:cubicBezTo>
                    <a:pt x="1303050" y="251378"/>
                    <a:pt x="1296701" y="222009"/>
                    <a:pt x="1283207" y="192640"/>
                  </a:cubicBezTo>
                  <a:lnTo>
                    <a:pt x="1157001" y="21191"/>
                  </a:lnTo>
                  <a:cubicBezTo>
                    <a:pt x="1126045" y="-11354"/>
                    <a:pt x="1095089" y="-1034"/>
                    <a:pt x="1049845" y="16428"/>
                  </a:cubicBezTo>
                  <a:cubicBezTo>
                    <a:pt x="822833" y="161684"/>
                    <a:pt x="626776" y="366471"/>
                    <a:pt x="468820" y="609359"/>
                  </a:cubicBezTo>
                  <a:lnTo>
                    <a:pt x="249745" y="387903"/>
                  </a:lnTo>
                  <a:cubicBezTo>
                    <a:pt x="210058" y="356153"/>
                    <a:pt x="179894" y="360122"/>
                    <a:pt x="137826" y="385522"/>
                  </a:cubicBezTo>
                  <a:cubicBezTo>
                    <a:pt x="98138" y="431559"/>
                    <a:pt x="58451" y="458546"/>
                    <a:pt x="18763" y="523633"/>
                  </a:cubicBezTo>
                  <a:cubicBezTo>
                    <a:pt x="-5049" y="555383"/>
                    <a:pt x="-7430" y="594278"/>
                    <a:pt x="18763" y="61888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prstClr val="white"/>
                </a:solidFill>
              </a:endParaRPr>
            </a:p>
          </p:txBody>
        </p:sp>
        <p:sp>
          <p:nvSpPr>
            <p:cNvPr id="77" name="Frame 76"/>
            <p:cNvSpPr/>
            <p:nvPr/>
          </p:nvSpPr>
          <p:spPr bwMode="auto">
            <a:xfrm>
              <a:off x="6960469" y="2866587"/>
              <a:ext cx="153998" cy="148076"/>
            </a:xfrm>
            <a:prstGeom prst="frame">
              <a:avLst>
                <a:gd name="adj1" fmla="val 1322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rgbClr val="FFFFFF"/>
                </a:solidFill>
                <a:latin typeface="Segoe UI Light"/>
                <a:ea typeface="Segoe UI" pitchFamily="34" charset="0"/>
                <a:cs typeface="Segoe UI" pitchFamily="34" charset="0"/>
              </a:endParaRPr>
            </a:p>
          </p:txBody>
        </p:sp>
        <p:sp>
          <p:nvSpPr>
            <p:cNvPr id="78" name="Freeform 77"/>
            <p:cNvSpPr/>
            <p:nvPr/>
          </p:nvSpPr>
          <p:spPr>
            <a:xfrm>
              <a:off x="6994807" y="3091142"/>
              <a:ext cx="133533" cy="112613"/>
            </a:xfrm>
            <a:custGeom>
              <a:avLst/>
              <a:gdLst>
                <a:gd name="connsiteX0" fmla="*/ 7143 w 1271587"/>
                <a:gd name="connsiteY0" fmla="*/ 604837 h 1064418"/>
                <a:gd name="connsiteX1" fmla="*/ 426243 w 1271587"/>
                <a:gd name="connsiteY1" fmla="*/ 1064418 h 1064418"/>
                <a:gd name="connsiteX2" fmla="*/ 528637 w 1271587"/>
                <a:gd name="connsiteY2" fmla="*/ 1054893 h 1064418"/>
                <a:gd name="connsiteX3" fmla="*/ 1254918 w 1271587"/>
                <a:gd name="connsiteY3" fmla="*/ 273843 h 1064418"/>
                <a:gd name="connsiteX4" fmla="*/ 1271587 w 1271587"/>
                <a:gd name="connsiteY4" fmla="*/ 178593 h 1064418"/>
                <a:gd name="connsiteX5" fmla="*/ 1131093 w 1271587"/>
                <a:gd name="connsiteY5" fmla="*/ 0 h 1064418"/>
                <a:gd name="connsiteX6" fmla="*/ 1038225 w 1271587"/>
                <a:gd name="connsiteY6" fmla="*/ 2381 h 1064418"/>
                <a:gd name="connsiteX7" fmla="*/ 457200 w 1271587"/>
                <a:gd name="connsiteY7" fmla="*/ 595312 h 1064418"/>
                <a:gd name="connsiteX8" fmla="*/ 238125 w 1271587"/>
                <a:gd name="connsiteY8" fmla="*/ 373856 h 1064418"/>
                <a:gd name="connsiteX9" fmla="*/ 126206 w 1271587"/>
                <a:gd name="connsiteY9" fmla="*/ 371475 h 1064418"/>
                <a:gd name="connsiteX10" fmla="*/ 0 w 1271587"/>
                <a:gd name="connsiteY10" fmla="*/ 531018 h 1064418"/>
                <a:gd name="connsiteX11" fmla="*/ 7143 w 1271587"/>
                <a:gd name="connsiteY11" fmla="*/ 604837 h 1064418"/>
                <a:gd name="connsiteX0" fmla="*/ 7143 w 1271587"/>
                <a:gd name="connsiteY0" fmla="*/ 604837 h 1067977"/>
                <a:gd name="connsiteX1" fmla="*/ 426243 w 1271587"/>
                <a:gd name="connsiteY1" fmla="*/ 1064418 h 1067977"/>
                <a:gd name="connsiteX2" fmla="*/ 528637 w 1271587"/>
                <a:gd name="connsiteY2" fmla="*/ 1054893 h 1067977"/>
                <a:gd name="connsiteX3" fmla="*/ 1254918 w 1271587"/>
                <a:gd name="connsiteY3" fmla="*/ 273843 h 1067977"/>
                <a:gd name="connsiteX4" fmla="*/ 1271587 w 1271587"/>
                <a:gd name="connsiteY4" fmla="*/ 178593 h 1067977"/>
                <a:gd name="connsiteX5" fmla="*/ 1131093 w 1271587"/>
                <a:gd name="connsiteY5" fmla="*/ 0 h 1067977"/>
                <a:gd name="connsiteX6" fmla="*/ 1038225 w 1271587"/>
                <a:gd name="connsiteY6" fmla="*/ 2381 h 1067977"/>
                <a:gd name="connsiteX7" fmla="*/ 457200 w 1271587"/>
                <a:gd name="connsiteY7" fmla="*/ 595312 h 1067977"/>
                <a:gd name="connsiteX8" fmla="*/ 238125 w 1271587"/>
                <a:gd name="connsiteY8" fmla="*/ 373856 h 1067977"/>
                <a:gd name="connsiteX9" fmla="*/ 126206 w 1271587"/>
                <a:gd name="connsiteY9" fmla="*/ 371475 h 1067977"/>
                <a:gd name="connsiteX10" fmla="*/ 0 w 1271587"/>
                <a:gd name="connsiteY10" fmla="*/ 531018 h 1067977"/>
                <a:gd name="connsiteX11" fmla="*/ 7143 w 1271587"/>
                <a:gd name="connsiteY11" fmla="*/ 604837 h 1067977"/>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5066"/>
                <a:gd name="connsiteY0" fmla="*/ 604837 h 1077089"/>
                <a:gd name="connsiteX1" fmla="*/ 426243 w 1275066"/>
                <a:gd name="connsiteY1" fmla="*/ 1064418 h 1077089"/>
                <a:gd name="connsiteX2" fmla="*/ 528637 w 1275066"/>
                <a:gd name="connsiteY2" fmla="*/ 1054893 h 1077089"/>
                <a:gd name="connsiteX3" fmla="*/ 1254918 w 1275066"/>
                <a:gd name="connsiteY3" fmla="*/ 273843 h 1077089"/>
                <a:gd name="connsiteX4" fmla="*/ 1271587 w 1275066"/>
                <a:gd name="connsiteY4" fmla="*/ 178593 h 1077089"/>
                <a:gd name="connsiteX5" fmla="*/ 1131093 w 1275066"/>
                <a:gd name="connsiteY5" fmla="*/ 0 h 1077089"/>
                <a:gd name="connsiteX6" fmla="*/ 1038225 w 1275066"/>
                <a:gd name="connsiteY6" fmla="*/ 2381 h 1077089"/>
                <a:gd name="connsiteX7" fmla="*/ 457200 w 1275066"/>
                <a:gd name="connsiteY7" fmla="*/ 595312 h 1077089"/>
                <a:gd name="connsiteX8" fmla="*/ 238125 w 1275066"/>
                <a:gd name="connsiteY8" fmla="*/ 373856 h 1077089"/>
                <a:gd name="connsiteX9" fmla="*/ 126206 w 1275066"/>
                <a:gd name="connsiteY9" fmla="*/ 371475 h 1077089"/>
                <a:gd name="connsiteX10" fmla="*/ 0 w 1275066"/>
                <a:gd name="connsiteY10" fmla="*/ 531018 h 1077089"/>
                <a:gd name="connsiteX11" fmla="*/ 7143 w 1275066"/>
                <a:gd name="connsiteY11" fmla="*/ 604837 h 1077089"/>
                <a:gd name="connsiteX0" fmla="*/ 7143 w 1280284"/>
                <a:gd name="connsiteY0" fmla="*/ 604837 h 1077089"/>
                <a:gd name="connsiteX1" fmla="*/ 426243 w 1280284"/>
                <a:gd name="connsiteY1" fmla="*/ 1064418 h 1077089"/>
                <a:gd name="connsiteX2" fmla="*/ 528637 w 1280284"/>
                <a:gd name="connsiteY2" fmla="*/ 1054893 h 1077089"/>
                <a:gd name="connsiteX3" fmla="*/ 1254918 w 1280284"/>
                <a:gd name="connsiteY3" fmla="*/ 273843 h 1077089"/>
                <a:gd name="connsiteX4" fmla="*/ 1271587 w 1280284"/>
                <a:gd name="connsiteY4" fmla="*/ 178593 h 1077089"/>
                <a:gd name="connsiteX5" fmla="*/ 1131093 w 1280284"/>
                <a:gd name="connsiteY5" fmla="*/ 0 h 1077089"/>
                <a:gd name="connsiteX6" fmla="*/ 1038225 w 1280284"/>
                <a:gd name="connsiteY6" fmla="*/ 2381 h 1077089"/>
                <a:gd name="connsiteX7" fmla="*/ 457200 w 1280284"/>
                <a:gd name="connsiteY7" fmla="*/ 595312 h 1077089"/>
                <a:gd name="connsiteX8" fmla="*/ 238125 w 1280284"/>
                <a:gd name="connsiteY8" fmla="*/ 373856 h 1077089"/>
                <a:gd name="connsiteX9" fmla="*/ 126206 w 1280284"/>
                <a:gd name="connsiteY9" fmla="*/ 371475 h 1077089"/>
                <a:gd name="connsiteX10" fmla="*/ 0 w 1280284"/>
                <a:gd name="connsiteY10" fmla="*/ 531018 h 1077089"/>
                <a:gd name="connsiteX11" fmla="*/ 7143 w 1280284"/>
                <a:gd name="connsiteY11" fmla="*/ 604837 h 1077089"/>
                <a:gd name="connsiteX0" fmla="*/ 7143 w 1282209"/>
                <a:gd name="connsiteY0" fmla="*/ 604837 h 1077089"/>
                <a:gd name="connsiteX1" fmla="*/ 426243 w 1282209"/>
                <a:gd name="connsiteY1" fmla="*/ 1064418 h 1077089"/>
                <a:gd name="connsiteX2" fmla="*/ 528637 w 1282209"/>
                <a:gd name="connsiteY2" fmla="*/ 1054893 h 1077089"/>
                <a:gd name="connsiteX3" fmla="*/ 1254918 w 1282209"/>
                <a:gd name="connsiteY3" fmla="*/ 273843 h 1077089"/>
                <a:gd name="connsiteX4" fmla="*/ 1271587 w 1282209"/>
                <a:gd name="connsiteY4" fmla="*/ 178593 h 1077089"/>
                <a:gd name="connsiteX5" fmla="*/ 1131093 w 1282209"/>
                <a:gd name="connsiteY5" fmla="*/ 0 h 1077089"/>
                <a:gd name="connsiteX6" fmla="*/ 1038225 w 1282209"/>
                <a:gd name="connsiteY6" fmla="*/ 2381 h 1077089"/>
                <a:gd name="connsiteX7" fmla="*/ 457200 w 1282209"/>
                <a:gd name="connsiteY7" fmla="*/ 595312 h 1077089"/>
                <a:gd name="connsiteX8" fmla="*/ 238125 w 1282209"/>
                <a:gd name="connsiteY8" fmla="*/ 373856 h 1077089"/>
                <a:gd name="connsiteX9" fmla="*/ 126206 w 1282209"/>
                <a:gd name="connsiteY9" fmla="*/ 371475 h 1077089"/>
                <a:gd name="connsiteX10" fmla="*/ 0 w 1282209"/>
                <a:gd name="connsiteY10" fmla="*/ 531018 h 1077089"/>
                <a:gd name="connsiteX11" fmla="*/ 7143 w 1282209"/>
                <a:gd name="connsiteY11" fmla="*/ 604837 h 1077089"/>
                <a:gd name="connsiteX0" fmla="*/ 7143 w 1282209"/>
                <a:gd name="connsiteY0" fmla="*/ 602456 h 1074708"/>
                <a:gd name="connsiteX1" fmla="*/ 426243 w 1282209"/>
                <a:gd name="connsiteY1" fmla="*/ 1062037 h 1074708"/>
                <a:gd name="connsiteX2" fmla="*/ 528637 w 1282209"/>
                <a:gd name="connsiteY2" fmla="*/ 1052512 h 1074708"/>
                <a:gd name="connsiteX3" fmla="*/ 1254918 w 1282209"/>
                <a:gd name="connsiteY3" fmla="*/ 271462 h 1074708"/>
                <a:gd name="connsiteX4" fmla="*/ 1271587 w 1282209"/>
                <a:gd name="connsiteY4" fmla="*/ 176212 h 1074708"/>
                <a:gd name="connsiteX5" fmla="*/ 1145381 w 1282209"/>
                <a:gd name="connsiteY5" fmla="*/ 4763 h 1074708"/>
                <a:gd name="connsiteX6" fmla="*/ 1038225 w 1282209"/>
                <a:gd name="connsiteY6" fmla="*/ 0 h 1074708"/>
                <a:gd name="connsiteX7" fmla="*/ 457200 w 1282209"/>
                <a:gd name="connsiteY7" fmla="*/ 592931 h 1074708"/>
                <a:gd name="connsiteX8" fmla="*/ 238125 w 1282209"/>
                <a:gd name="connsiteY8" fmla="*/ 371475 h 1074708"/>
                <a:gd name="connsiteX9" fmla="*/ 126206 w 1282209"/>
                <a:gd name="connsiteY9" fmla="*/ 369094 h 1074708"/>
                <a:gd name="connsiteX10" fmla="*/ 0 w 1282209"/>
                <a:gd name="connsiteY10" fmla="*/ 528637 h 1074708"/>
                <a:gd name="connsiteX11" fmla="*/ 7143 w 1282209"/>
                <a:gd name="connsiteY11" fmla="*/ 602456 h 1074708"/>
                <a:gd name="connsiteX0" fmla="*/ 7143 w 1282209"/>
                <a:gd name="connsiteY0" fmla="*/ 613102 h 1085354"/>
                <a:gd name="connsiteX1" fmla="*/ 426243 w 1282209"/>
                <a:gd name="connsiteY1" fmla="*/ 1072683 h 1085354"/>
                <a:gd name="connsiteX2" fmla="*/ 528637 w 1282209"/>
                <a:gd name="connsiteY2" fmla="*/ 1063158 h 1085354"/>
                <a:gd name="connsiteX3" fmla="*/ 1254918 w 1282209"/>
                <a:gd name="connsiteY3" fmla="*/ 282108 h 1085354"/>
                <a:gd name="connsiteX4" fmla="*/ 1271587 w 1282209"/>
                <a:gd name="connsiteY4" fmla="*/ 186858 h 1085354"/>
                <a:gd name="connsiteX5" fmla="*/ 1145381 w 1282209"/>
                <a:gd name="connsiteY5" fmla="*/ 15409 h 1085354"/>
                <a:gd name="connsiteX6" fmla="*/ 1038225 w 1282209"/>
                <a:gd name="connsiteY6" fmla="*/ 10646 h 1085354"/>
                <a:gd name="connsiteX7" fmla="*/ 457200 w 1282209"/>
                <a:gd name="connsiteY7" fmla="*/ 603577 h 1085354"/>
                <a:gd name="connsiteX8" fmla="*/ 238125 w 1282209"/>
                <a:gd name="connsiteY8" fmla="*/ 382121 h 1085354"/>
                <a:gd name="connsiteX9" fmla="*/ 126206 w 1282209"/>
                <a:gd name="connsiteY9" fmla="*/ 379740 h 1085354"/>
                <a:gd name="connsiteX10" fmla="*/ 0 w 1282209"/>
                <a:gd name="connsiteY10" fmla="*/ 539283 h 1085354"/>
                <a:gd name="connsiteX11" fmla="*/ 7143 w 1282209"/>
                <a:gd name="connsiteY11" fmla="*/ 613102 h 1085354"/>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11641 w 1286707"/>
                <a:gd name="connsiteY0" fmla="*/ 618884 h 1091136"/>
                <a:gd name="connsiteX1" fmla="*/ 430741 w 1286707"/>
                <a:gd name="connsiteY1" fmla="*/ 1078465 h 1091136"/>
                <a:gd name="connsiteX2" fmla="*/ 533135 w 1286707"/>
                <a:gd name="connsiteY2" fmla="*/ 1068940 h 1091136"/>
                <a:gd name="connsiteX3" fmla="*/ 1259416 w 1286707"/>
                <a:gd name="connsiteY3" fmla="*/ 287890 h 1091136"/>
                <a:gd name="connsiteX4" fmla="*/ 1276085 w 1286707"/>
                <a:gd name="connsiteY4" fmla="*/ 192640 h 1091136"/>
                <a:gd name="connsiteX5" fmla="*/ 1149879 w 1286707"/>
                <a:gd name="connsiteY5" fmla="*/ 21191 h 1091136"/>
                <a:gd name="connsiteX6" fmla="*/ 1042723 w 1286707"/>
                <a:gd name="connsiteY6" fmla="*/ 16428 h 1091136"/>
                <a:gd name="connsiteX7" fmla="*/ 461698 w 1286707"/>
                <a:gd name="connsiteY7" fmla="*/ 609359 h 1091136"/>
                <a:gd name="connsiteX8" fmla="*/ 242623 w 1286707"/>
                <a:gd name="connsiteY8" fmla="*/ 387903 h 1091136"/>
                <a:gd name="connsiteX9" fmla="*/ 130704 w 1286707"/>
                <a:gd name="connsiteY9" fmla="*/ 385522 h 1091136"/>
                <a:gd name="connsiteX10" fmla="*/ 11641 w 1286707"/>
                <a:gd name="connsiteY10" fmla="*/ 523633 h 1091136"/>
                <a:gd name="connsiteX11" fmla="*/ 11641 w 1286707"/>
                <a:gd name="connsiteY11" fmla="*/ 618884 h 1091136"/>
                <a:gd name="connsiteX0" fmla="*/ 19645 w 1294711"/>
                <a:gd name="connsiteY0" fmla="*/ 618884 h 1091136"/>
                <a:gd name="connsiteX1" fmla="*/ 438745 w 1294711"/>
                <a:gd name="connsiteY1" fmla="*/ 1078465 h 1091136"/>
                <a:gd name="connsiteX2" fmla="*/ 541139 w 1294711"/>
                <a:gd name="connsiteY2" fmla="*/ 1068940 h 1091136"/>
                <a:gd name="connsiteX3" fmla="*/ 1267420 w 1294711"/>
                <a:gd name="connsiteY3" fmla="*/ 287890 h 1091136"/>
                <a:gd name="connsiteX4" fmla="*/ 1284089 w 1294711"/>
                <a:gd name="connsiteY4" fmla="*/ 192640 h 1091136"/>
                <a:gd name="connsiteX5" fmla="*/ 1157883 w 1294711"/>
                <a:gd name="connsiteY5" fmla="*/ 21191 h 1091136"/>
                <a:gd name="connsiteX6" fmla="*/ 1050727 w 1294711"/>
                <a:gd name="connsiteY6" fmla="*/ 16428 h 1091136"/>
                <a:gd name="connsiteX7" fmla="*/ 469702 w 1294711"/>
                <a:gd name="connsiteY7" fmla="*/ 609359 h 1091136"/>
                <a:gd name="connsiteX8" fmla="*/ 250627 w 1294711"/>
                <a:gd name="connsiteY8" fmla="*/ 387903 h 1091136"/>
                <a:gd name="connsiteX9" fmla="*/ 138708 w 1294711"/>
                <a:gd name="connsiteY9" fmla="*/ 385522 h 1091136"/>
                <a:gd name="connsiteX10" fmla="*/ 19645 w 1294711"/>
                <a:gd name="connsiteY10" fmla="*/ 523633 h 1091136"/>
                <a:gd name="connsiteX11" fmla="*/ 19645 w 1294711"/>
                <a:gd name="connsiteY11" fmla="*/ 618884 h 1091136"/>
                <a:gd name="connsiteX0" fmla="*/ 18763 w 1293829"/>
                <a:gd name="connsiteY0" fmla="*/ 618884 h 1091136"/>
                <a:gd name="connsiteX1" fmla="*/ 437863 w 1293829"/>
                <a:gd name="connsiteY1" fmla="*/ 1078465 h 1091136"/>
                <a:gd name="connsiteX2" fmla="*/ 540257 w 1293829"/>
                <a:gd name="connsiteY2" fmla="*/ 1068940 h 1091136"/>
                <a:gd name="connsiteX3" fmla="*/ 1266538 w 1293829"/>
                <a:gd name="connsiteY3" fmla="*/ 287890 h 1091136"/>
                <a:gd name="connsiteX4" fmla="*/ 1283207 w 1293829"/>
                <a:gd name="connsiteY4" fmla="*/ 192640 h 1091136"/>
                <a:gd name="connsiteX5" fmla="*/ 1157001 w 1293829"/>
                <a:gd name="connsiteY5" fmla="*/ 21191 h 1091136"/>
                <a:gd name="connsiteX6" fmla="*/ 1049845 w 1293829"/>
                <a:gd name="connsiteY6" fmla="*/ 16428 h 1091136"/>
                <a:gd name="connsiteX7" fmla="*/ 468820 w 1293829"/>
                <a:gd name="connsiteY7" fmla="*/ 609359 h 1091136"/>
                <a:gd name="connsiteX8" fmla="*/ 249745 w 1293829"/>
                <a:gd name="connsiteY8" fmla="*/ 387903 h 1091136"/>
                <a:gd name="connsiteX9" fmla="*/ 137826 w 1293829"/>
                <a:gd name="connsiteY9" fmla="*/ 385522 h 1091136"/>
                <a:gd name="connsiteX10" fmla="*/ 18763 w 1293829"/>
                <a:gd name="connsiteY10" fmla="*/ 523633 h 1091136"/>
                <a:gd name="connsiteX11" fmla="*/ 18763 w 1293829"/>
                <a:gd name="connsiteY11" fmla="*/ 618884 h 109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3829" h="1091136">
                  <a:moveTo>
                    <a:pt x="18763" y="618884"/>
                  </a:moveTo>
                  <a:lnTo>
                    <a:pt x="437863" y="1078465"/>
                  </a:lnTo>
                  <a:cubicBezTo>
                    <a:pt x="474375" y="1099102"/>
                    <a:pt x="498981" y="1093547"/>
                    <a:pt x="540257" y="1068940"/>
                  </a:cubicBezTo>
                  <a:cubicBezTo>
                    <a:pt x="782351" y="718103"/>
                    <a:pt x="1067307" y="429177"/>
                    <a:pt x="1266538" y="287890"/>
                  </a:cubicBezTo>
                  <a:cubicBezTo>
                    <a:pt x="1303050" y="251378"/>
                    <a:pt x="1296701" y="222009"/>
                    <a:pt x="1283207" y="192640"/>
                  </a:cubicBezTo>
                  <a:lnTo>
                    <a:pt x="1157001" y="21191"/>
                  </a:lnTo>
                  <a:cubicBezTo>
                    <a:pt x="1126045" y="-11354"/>
                    <a:pt x="1095089" y="-1034"/>
                    <a:pt x="1049845" y="16428"/>
                  </a:cubicBezTo>
                  <a:cubicBezTo>
                    <a:pt x="822833" y="161684"/>
                    <a:pt x="626776" y="366471"/>
                    <a:pt x="468820" y="609359"/>
                  </a:cubicBezTo>
                  <a:lnTo>
                    <a:pt x="249745" y="387903"/>
                  </a:lnTo>
                  <a:cubicBezTo>
                    <a:pt x="210058" y="356153"/>
                    <a:pt x="179894" y="360122"/>
                    <a:pt x="137826" y="385522"/>
                  </a:cubicBezTo>
                  <a:cubicBezTo>
                    <a:pt x="98138" y="431559"/>
                    <a:pt x="58451" y="458546"/>
                    <a:pt x="18763" y="523633"/>
                  </a:cubicBezTo>
                  <a:cubicBezTo>
                    <a:pt x="-5049" y="555383"/>
                    <a:pt x="-7430" y="594278"/>
                    <a:pt x="18763" y="61888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prstClr val="white"/>
                </a:solidFill>
              </a:endParaRPr>
            </a:p>
          </p:txBody>
        </p:sp>
        <p:sp>
          <p:nvSpPr>
            <p:cNvPr id="79" name="Frame 78"/>
            <p:cNvSpPr/>
            <p:nvPr/>
          </p:nvSpPr>
          <p:spPr bwMode="auto">
            <a:xfrm>
              <a:off x="6960469" y="3091142"/>
              <a:ext cx="153998" cy="148076"/>
            </a:xfrm>
            <a:prstGeom prst="frame">
              <a:avLst>
                <a:gd name="adj1" fmla="val 1322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rgbClr val="FFFFFF"/>
                </a:solidFill>
                <a:latin typeface="Segoe UI Light"/>
                <a:ea typeface="Segoe UI" pitchFamily="34" charset="0"/>
                <a:cs typeface="Segoe UI" pitchFamily="34" charset="0"/>
              </a:endParaRPr>
            </a:p>
          </p:txBody>
        </p:sp>
        <p:sp>
          <p:nvSpPr>
            <p:cNvPr id="80" name="Freeform 79"/>
            <p:cNvSpPr/>
            <p:nvPr/>
          </p:nvSpPr>
          <p:spPr>
            <a:xfrm>
              <a:off x="6994807" y="3319987"/>
              <a:ext cx="133533" cy="112613"/>
            </a:xfrm>
            <a:custGeom>
              <a:avLst/>
              <a:gdLst>
                <a:gd name="connsiteX0" fmla="*/ 7143 w 1271587"/>
                <a:gd name="connsiteY0" fmla="*/ 604837 h 1064418"/>
                <a:gd name="connsiteX1" fmla="*/ 426243 w 1271587"/>
                <a:gd name="connsiteY1" fmla="*/ 1064418 h 1064418"/>
                <a:gd name="connsiteX2" fmla="*/ 528637 w 1271587"/>
                <a:gd name="connsiteY2" fmla="*/ 1054893 h 1064418"/>
                <a:gd name="connsiteX3" fmla="*/ 1254918 w 1271587"/>
                <a:gd name="connsiteY3" fmla="*/ 273843 h 1064418"/>
                <a:gd name="connsiteX4" fmla="*/ 1271587 w 1271587"/>
                <a:gd name="connsiteY4" fmla="*/ 178593 h 1064418"/>
                <a:gd name="connsiteX5" fmla="*/ 1131093 w 1271587"/>
                <a:gd name="connsiteY5" fmla="*/ 0 h 1064418"/>
                <a:gd name="connsiteX6" fmla="*/ 1038225 w 1271587"/>
                <a:gd name="connsiteY6" fmla="*/ 2381 h 1064418"/>
                <a:gd name="connsiteX7" fmla="*/ 457200 w 1271587"/>
                <a:gd name="connsiteY7" fmla="*/ 595312 h 1064418"/>
                <a:gd name="connsiteX8" fmla="*/ 238125 w 1271587"/>
                <a:gd name="connsiteY8" fmla="*/ 373856 h 1064418"/>
                <a:gd name="connsiteX9" fmla="*/ 126206 w 1271587"/>
                <a:gd name="connsiteY9" fmla="*/ 371475 h 1064418"/>
                <a:gd name="connsiteX10" fmla="*/ 0 w 1271587"/>
                <a:gd name="connsiteY10" fmla="*/ 531018 h 1064418"/>
                <a:gd name="connsiteX11" fmla="*/ 7143 w 1271587"/>
                <a:gd name="connsiteY11" fmla="*/ 604837 h 1064418"/>
                <a:gd name="connsiteX0" fmla="*/ 7143 w 1271587"/>
                <a:gd name="connsiteY0" fmla="*/ 604837 h 1067977"/>
                <a:gd name="connsiteX1" fmla="*/ 426243 w 1271587"/>
                <a:gd name="connsiteY1" fmla="*/ 1064418 h 1067977"/>
                <a:gd name="connsiteX2" fmla="*/ 528637 w 1271587"/>
                <a:gd name="connsiteY2" fmla="*/ 1054893 h 1067977"/>
                <a:gd name="connsiteX3" fmla="*/ 1254918 w 1271587"/>
                <a:gd name="connsiteY3" fmla="*/ 273843 h 1067977"/>
                <a:gd name="connsiteX4" fmla="*/ 1271587 w 1271587"/>
                <a:gd name="connsiteY4" fmla="*/ 178593 h 1067977"/>
                <a:gd name="connsiteX5" fmla="*/ 1131093 w 1271587"/>
                <a:gd name="connsiteY5" fmla="*/ 0 h 1067977"/>
                <a:gd name="connsiteX6" fmla="*/ 1038225 w 1271587"/>
                <a:gd name="connsiteY6" fmla="*/ 2381 h 1067977"/>
                <a:gd name="connsiteX7" fmla="*/ 457200 w 1271587"/>
                <a:gd name="connsiteY7" fmla="*/ 595312 h 1067977"/>
                <a:gd name="connsiteX8" fmla="*/ 238125 w 1271587"/>
                <a:gd name="connsiteY8" fmla="*/ 373856 h 1067977"/>
                <a:gd name="connsiteX9" fmla="*/ 126206 w 1271587"/>
                <a:gd name="connsiteY9" fmla="*/ 371475 h 1067977"/>
                <a:gd name="connsiteX10" fmla="*/ 0 w 1271587"/>
                <a:gd name="connsiteY10" fmla="*/ 531018 h 1067977"/>
                <a:gd name="connsiteX11" fmla="*/ 7143 w 1271587"/>
                <a:gd name="connsiteY11" fmla="*/ 604837 h 1067977"/>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5066"/>
                <a:gd name="connsiteY0" fmla="*/ 604837 h 1077089"/>
                <a:gd name="connsiteX1" fmla="*/ 426243 w 1275066"/>
                <a:gd name="connsiteY1" fmla="*/ 1064418 h 1077089"/>
                <a:gd name="connsiteX2" fmla="*/ 528637 w 1275066"/>
                <a:gd name="connsiteY2" fmla="*/ 1054893 h 1077089"/>
                <a:gd name="connsiteX3" fmla="*/ 1254918 w 1275066"/>
                <a:gd name="connsiteY3" fmla="*/ 273843 h 1077089"/>
                <a:gd name="connsiteX4" fmla="*/ 1271587 w 1275066"/>
                <a:gd name="connsiteY4" fmla="*/ 178593 h 1077089"/>
                <a:gd name="connsiteX5" fmla="*/ 1131093 w 1275066"/>
                <a:gd name="connsiteY5" fmla="*/ 0 h 1077089"/>
                <a:gd name="connsiteX6" fmla="*/ 1038225 w 1275066"/>
                <a:gd name="connsiteY6" fmla="*/ 2381 h 1077089"/>
                <a:gd name="connsiteX7" fmla="*/ 457200 w 1275066"/>
                <a:gd name="connsiteY7" fmla="*/ 595312 h 1077089"/>
                <a:gd name="connsiteX8" fmla="*/ 238125 w 1275066"/>
                <a:gd name="connsiteY8" fmla="*/ 373856 h 1077089"/>
                <a:gd name="connsiteX9" fmla="*/ 126206 w 1275066"/>
                <a:gd name="connsiteY9" fmla="*/ 371475 h 1077089"/>
                <a:gd name="connsiteX10" fmla="*/ 0 w 1275066"/>
                <a:gd name="connsiteY10" fmla="*/ 531018 h 1077089"/>
                <a:gd name="connsiteX11" fmla="*/ 7143 w 1275066"/>
                <a:gd name="connsiteY11" fmla="*/ 604837 h 1077089"/>
                <a:gd name="connsiteX0" fmla="*/ 7143 w 1280284"/>
                <a:gd name="connsiteY0" fmla="*/ 604837 h 1077089"/>
                <a:gd name="connsiteX1" fmla="*/ 426243 w 1280284"/>
                <a:gd name="connsiteY1" fmla="*/ 1064418 h 1077089"/>
                <a:gd name="connsiteX2" fmla="*/ 528637 w 1280284"/>
                <a:gd name="connsiteY2" fmla="*/ 1054893 h 1077089"/>
                <a:gd name="connsiteX3" fmla="*/ 1254918 w 1280284"/>
                <a:gd name="connsiteY3" fmla="*/ 273843 h 1077089"/>
                <a:gd name="connsiteX4" fmla="*/ 1271587 w 1280284"/>
                <a:gd name="connsiteY4" fmla="*/ 178593 h 1077089"/>
                <a:gd name="connsiteX5" fmla="*/ 1131093 w 1280284"/>
                <a:gd name="connsiteY5" fmla="*/ 0 h 1077089"/>
                <a:gd name="connsiteX6" fmla="*/ 1038225 w 1280284"/>
                <a:gd name="connsiteY6" fmla="*/ 2381 h 1077089"/>
                <a:gd name="connsiteX7" fmla="*/ 457200 w 1280284"/>
                <a:gd name="connsiteY7" fmla="*/ 595312 h 1077089"/>
                <a:gd name="connsiteX8" fmla="*/ 238125 w 1280284"/>
                <a:gd name="connsiteY8" fmla="*/ 373856 h 1077089"/>
                <a:gd name="connsiteX9" fmla="*/ 126206 w 1280284"/>
                <a:gd name="connsiteY9" fmla="*/ 371475 h 1077089"/>
                <a:gd name="connsiteX10" fmla="*/ 0 w 1280284"/>
                <a:gd name="connsiteY10" fmla="*/ 531018 h 1077089"/>
                <a:gd name="connsiteX11" fmla="*/ 7143 w 1280284"/>
                <a:gd name="connsiteY11" fmla="*/ 604837 h 1077089"/>
                <a:gd name="connsiteX0" fmla="*/ 7143 w 1282209"/>
                <a:gd name="connsiteY0" fmla="*/ 604837 h 1077089"/>
                <a:gd name="connsiteX1" fmla="*/ 426243 w 1282209"/>
                <a:gd name="connsiteY1" fmla="*/ 1064418 h 1077089"/>
                <a:gd name="connsiteX2" fmla="*/ 528637 w 1282209"/>
                <a:gd name="connsiteY2" fmla="*/ 1054893 h 1077089"/>
                <a:gd name="connsiteX3" fmla="*/ 1254918 w 1282209"/>
                <a:gd name="connsiteY3" fmla="*/ 273843 h 1077089"/>
                <a:gd name="connsiteX4" fmla="*/ 1271587 w 1282209"/>
                <a:gd name="connsiteY4" fmla="*/ 178593 h 1077089"/>
                <a:gd name="connsiteX5" fmla="*/ 1131093 w 1282209"/>
                <a:gd name="connsiteY5" fmla="*/ 0 h 1077089"/>
                <a:gd name="connsiteX6" fmla="*/ 1038225 w 1282209"/>
                <a:gd name="connsiteY6" fmla="*/ 2381 h 1077089"/>
                <a:gd name="connsiteX7" fmla="*/ 457200 w 1282209"/>
                <a:gd name="connsiteY7" fmla="*/ 595312 h 1077089"/>
                <a:gd name="connsiteX8" fmla="*/ 238125 w 1282209"/>
                <a:gd name="connsiteY8" fmla="*/ 373856 h 1077089"/>
                <a:gd name="connsiteX9" fmla="*/ 126206 w 1282209"/>
                <a:gd name="connsiteY9" fmla="*/ 371475 h 1077089"/>
                <a:gd name="connsiteX10" fmla="*/ 0 w 1282209"/>
                <a:gd name="connsiteY10" fmla="*/ 531018 h 1077089"/>
                <a:gd name="connsiteX11" fmla="*/ 7143 w 1282209"/>
                <a:gd name="connsiteY11" fmla="*/ 604837 h 1077089"/>
                <a:gd name="connsiteX0" fmla="*/ 7143 w 1282209"/>
                <a:gd name="connsiteY0" fmla="*/ 602456 h 1074708"/>
                <a:gd name="connsiteX1" fmla="*/ 426243 w 1282209"/>
                <a:gd name="connsiteY1" fmla="*/ 1062037 h 1074708"/>
                <a:gd name="connsiteX2" fmla="*/ 528637 w 1282209"/>
                <a:gd name="connsiteY2" fmla="*/ 1052512 h 1074708"/>
                <a:gd name="connsiteX3" fmla="*/ 1254918 w 1282209"/>
                <a:gd name="connsiteY3" fmla="*/ 271462 h 1074708"/>
                <a:gd name="connsiteX4" fmla="*/ 1271587 w 1282209"/>
                <a:gd name="connsiteY4" fmla="*/ 176212 h 1074708"/>
                <a:gd name="connsiteX5" fmla="*/ 1145381 w 1282209"/>
                <a:gd name="connsiteY5" fmla="*/ 4763 h 1074708"/>
                <a:gd name="connsiteX6" fmla="*/ 1038225 w 1282209"/>
                <a:gd name="connsiteY6" fmla="*/ 0 h 1074708"/>
                <a:gd name="connsiteX7" fmla="*/ 457200 w 1282209"/>
                <a:gd name="connsiteY7" fmla="*/ 592931 h 1074708"/>
                <a:gd name="connsiteX8" fmla="*/ 238125 w 1282209"/>
                <a:gd name="connsiteY8" fmla="*/ 371475 h 1074708"/>
                <a:gd name="connsiteX9" fmla="*/ 126206 w 1282209"/>
                <a:gd name="connsiteY9" fmla="*/ 369094 h 1074708"/>
                <a:gd name="connsiteX10" fmla="*/ 0 w 1282209"/>
                <a:gd name="connsiteY10" fmla="*/ 528637 h 1074708"/>
                <a:gd name="connsiteX11" fmla="*/ 7143 w 1282209"/>
                <a:gd name="connsiteY11" fmla="*/ 602456 h 1074708"/>
                <a:gd name="connsiteX0" fmla="*/ 7143 w 1282209"/>
                <a:gd name="connsiteY0" fmla="*/ 613102 h 1085354"/>
                <a:gd name="connsiteX1" fmla="*/ 426243 w 1282209"/>
                <a:gd name="connsiteY1" fmla="*/ 1072683 h 1085354"/>
                <a:gd name="connsiteX2" fmla="*/ 528637 w 1282209"/>
                <a:gd name="connsiteY2" fmla="*/ 1063158 h 1085354"/>
                <a:gd name="connsiteX3" fmla="*/ 1254918 w 1282209"/>
                <a:gd name="connsiteY3" fmla="*/ 282108 h 1085354"/>
                <a:gd name="connsiteX4" fmla="*/ 1271587 w 1282209"/>
                <a:gd name="connsiteY4" fmla="*/ 186858 h 1085354"/>
                <a:gd name="connsiteX5" fmla="*/ 1145381 w 1282209"/>
                <a:gd name="connsiteY5" fmla="*/ 15409 h 1085354"/>
                <a:gd name="connsiteX6" fmla="*/ 1038225 w 1282209"/>
                <a:gd name="connsiteY6" fmla="*/ 10646 h 1085354"/>
                <a:gd name="connsiteX7" fmla="*/ 457200 w 1282209"/>
                <a:gd name="connsiteY7" fmla="*/ 603577 h 1085354"/>
                <a:gd name="connsiteX8" fmla="*/ 238125 w 1282209"/>
                <a:gd name="connsiteY8" fmla="*/ 382121 h 1085354"/>
                <a:gd name="connsiteX9" fmla="*/ 126206 w 1282209"/>
                <a:gd name="connsiteY9" fmla="*/ 379740 h 1085354"/>
                <a:gd name="connsiteX10" fmla="*/ 0 w 1282209"/>
                <a:gd name="connsiteY10" fmla="*/ 539283 h 1085354"/>
                <a:gd name="connsiteX11" fmla="*/ 7143 w 1282209"/>
                <a:gd name="connsiteY11" fmla="*/ 613102 h 1085354"/>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11641 w 1286707"/>
                <a:gd name="connsiteY0" fmla="*/ 618884 h 1091136"/>
                <a:gd name="connsiteX1" fmla="*/ 430741 w 1286707"/>
                <a:gd name="connsiteY1" fmla="*/ 1078465 h 1091136"/>
                <a:gd name="connsiteX2" fmla="*/ 533135 w 1286707"/>
                <a:gd name="connsiteY2" fmla="*/ 1068940 h 1091136"/>
                <a:gd name="connsiteX3" fmla="*/ 1259416 w 1286707"/>
                <a:gd name="connsiteY3" fmla="*/ 287890 h 1091136"/>
                <a:gd name="connsiteX4" fmla="*/ 1276085 w 1286707"/>
                <a:gd name="connsiteY4" fmla="*/ 192640 h 1091136"/>
                <a:gd name="connsiteX5" fmla="*/ 1149879 w 1286707"/>
                <a:gd name="connsiteY5" fmla="*/ 21191 h 1091136"/>
                <a:gd name="connsiteX6" fmla="*/ 1042723 w 1286707"/>
                <a:gd name="connsiteY6" fmla="*/ 16428 h 1091136"/>
                <a:gd name="connsiteX7" fmla="*/ 461698 w 1286707"/>
                <a:gd name="connsiteY7" fmla="*/ 609359 h 1091136"/>
                <a:gd name="connsiteX8" fmla="*/ 242623 w 1286707"/>
                <a:gd name="connsiteY8" fmla="*/ 387903 h 1091136"/>
                <a:gd name="connsiteX9" fmla="*/ 130704 w 1286707"/>
                <a:gd name="connsiteY9" fmla="*/ 385522 h 1091136"/>
                <a:gd name="connsiteX10" fmla="*/ 11641 w 1286707"/>
                <a:gd name="connsiteY10" fmla="*/ 523633 h 1091136"/>
                <a:gd name="connsiteX11" fmla="*/ 11641 w 1286707"/>
                <a:gd name="connsiteY11" fmla="*/ 618884 h 1091136"/>
                <a:gd name="connsiteX0" fmla="*/ 19645 w 1294711"/>
                <a:gd name="connsiteY0" fmla="*/ 618884 h 1091136"/>
                <a:gd name="connsiteX1" fmla="*/ 438745 w 1294711"/>
                <a:gd name="connsiteY1" fmla="*/ 1078465 h 1091136"/>
                <a:gd name="connsiteX2" fmla="*/ 541139 w 1294711"/>
                <a:gd name="connsiteY2" fmla="*/ 1068940 h 1091136"/>
                <a:gd name="connsiteX3" fmla="*/ 1267420 w 1294711"/>
                <a:gd name="connsiteY3" fmla="*/ 287890 h 1091136"/>
                <a:gd name="connsiteX4" fmla="*/ 1284089 w 1294711"/>
                <a:gd name="connsiteY4" fmla="*/ 192640 h 1091136"/>
                <a:gd name="connsiteX5" fmla="*/ 1157883 w 1294711"/>
                <a:gd name="connsiteY5" fmla="*/ 21191 h 1091136"/>
                <a:gd name="connsiteX6" fmla="*/ 1050727 w 1294711"/>
                <a:gd name="connsiteY6" fmla="*/ 16428 h 1091136"/>
                <a:gd name="connsiteX7" fmla="*/ 469702 w 1294711"/>
                <a:gd name="connsiteY7" fmla="*/ 609359 h 1091136"/>
                <a:gd name="connsiteX8" fmla="*/ 250627 w 1294711"/>
                <a:gd name="connsiteY8" fmla="*/ 387903 h 1091136"/>
                <a:gd name="connsiteX9" fmla="*/ 138708 w 1294711"/>
                <a:gd name="connsiteY9" fmla="*/ 385522 h 1091136"/>
                <a:gd name="connsiteX10" fmla="*/ 19645 w 1294711"/>
                <a:gd name="connsiteY10" fmla="*/ 523633 h 1091136"/>
                <a:gd name="connsiteX11" fmla="*/ 19645 w 1294711"/>
                <a:gd name="connsiteY11" fmla="*/ 618884 h 1091136"/>
                <a:gd name="connsiteX0" fmla="*/ 18763 w 1293829"/>
                <a:gd name="connsiteY0" fmla="*/ 618884 h 1091136"/>
                <a:gd name="connsiteX1" fmla="*/ 437863 w 1293829"/>
                <a:gd name="connsiteY1" fmla="*/ 1078465 h 1091136"/>
                <a:gd name="connsiteX2" fmla="*/ 540257 w 1293829"/>
                <a:gd name="connsiteY2" fmla="*/ 1068940 h 1091136"/>
                <a:gd name="connsiteX3" fmla="*/ 1266538 w 1293829"/>
                <a:gd name="connsiteY3" fmla="*/ 287890 h 1091136"/>
                <a:gd name="connsiteX4" fmla="*/ 1283207 w 1293829"/>
                <a:gd name="connsiteY4" fmla="*/ 192640 h 1091136"/>
                <a:gd name="connsiteX5" fmla="*/ 1157001 w 1293829"/>
                <a:gd name="connsiteY5" fmla="*/ 21191 h 1091136"/>
                <a:gd name="connsiteX6" fmla="*/ 1049845 w 1293829"/>
                <a:gd name="connsiteY6" fmla="*/ 16428 h 1091136"/>
                <a:gd name="connsiteX7" fmla="*/ 468820 w 1293829"/>
                <a:gd name="connsiteY7" fmla="*/ 609359 h 1091136"/>
                <a:gd name="connsiteX8" fmla="*/ 249745 w 1293829"/>
                <a:gd name="connsiteY8" fmla="*/ 387903 h 1091136"/>
                <a:gd name="connsiteX9" fmla="*/ 137826 w 1293829"/>
                <a:gd name="connsiteY9" fmla="*/ 385522 h 1091136"/>
                <a:gd name="connsiteX10" fmla="*/ 18763 w 1293829"/>
                <a:gd name="connsiteY10" fmla="*/ 523633 h 1091136"/>
                <a:gd name="connsiteX11" fmla="*/ 18763 w 1293829"/>
                <a:gd name="connsiteY11" fmla="*/ 618884 h 109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3829" h="1091136">
                  <a:moveTo>
                    <a:pt x="18763" y="618884"/>
                  </a:moveTo>
                  <a:lnTo>
                    <a:pt x="437863" y="1078465"/>
                  </a:lnTo>
                  <a:cubicBezTo>
                    <a:pt x="474375" y="1099102"/>
                    <a:pt x="498981" y="1093547"/>
                    <a:pt x="540257" y="1068940"/>
                  </a:cubicBezTo>
                  <a:cubicBezTo>
                    <a:pt x="782351" y="718103"/>
                    <a:pt x="1067307" y="429177"/>
                    <a:pt x="1266538" y="287890"/>
                  </a:cubicBezTo>
                  <a:cubicBezTo>
                    <a:pt x="1303050" y="251378"/>
                    <a:pt x="1296701" y="222009"/>
                    <a:pt x="1283207" y="192640"/>
                  </a:cubicBezTo>
                  <a:lnTo>
                    <a:pt x="1157001" y="21191"/>
                  </a:lnTo>
                  <a:cubicBezTo>
                    <a:pt x="1126045" y="-11354"/>
                    <a:pt x="1095089" y="-1034"/>
                    <a:pt x="1049845" y="16428"/>
                  </a:cubicBezTo>
                  <a:cubicBezTo>
                    <a:pt x="822833" y="161684"/>
                    <a:pt x="626776" y="366471"/>
                    <a:pt x="468820" y="609359"/>
                  </a:cubicBezTo>
                  <a:lnTo>
                    <a:pt x="249745" y="387903"/>
                  </a:lnTo>
                  <a:cubicBezTo>
                    <a:pt x="210058" y="356153"/>
                    <a:pt x="179894" y="360122"/>
                    <a:pt x="137826" y="385522"/>
                  </a:cubicBezTo>
                  <a:cubicBezTo>
                    <a:pt x="98138" y="431559"/>
                    <a:pt x="58451" y="458546"/>
                    <a:pt x="18763" y="523633"/>
                  </a:cubicBezTo>
                  <a:cubicBezTo>
                    <a:pt x="-5049" y="555383"/>
                    <a:pt x="-7430" y="594278"/>
                    <a:pt x="18763" y="61888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prstClr val="white"/>
                </a:solidFill>
              </a:endParaRPr>
            </a:p>
          </p:txBody>
        </p:sp>
        <p:sp>
          <p:nvSpPr>
            <p:cNvPr id="81" name="Frame 80"/>
            <p:cNvSpPr/>
            <p:nvPr/>
          </p:nvSpPr>
          <p:spPr bwMode="auto">
            <a:xfrm>
              <a:off x="6960469" y="3319987"/>
              <a:ext cx="153998" cy="148076"/>
            </a:xfrm>
            <a:prstGeom prst="frame">
              <a:avLst>
                <a:gd name="adj1" fmla="val 1322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rgbClr val="FFFFFF"/>
                </a:solidFill>
                <a:latin typeface="Segoe UI Light"/>
                <a:ea typeface="Segoe UI" pitchFamily="34" charset="0"/>
                <a:cs typeface="Segoe UI" pitchFamily="34" charset="0"/>
              </a:endParaRPr>
            </a:p>
          </p:txBody>
        </p:sp>
      </p:grpSp>
      <p:sp>
        <p:nvSpPr>
          <p:cNvPr id="4" name="Rectangle 3"/>
          <p:cNvSpPr/>
          <p:nvPr/>
        </p:nvSpPr>
        <p:spPr>
          <a:xfrm>
            <a:off x="460662" y="1821132"/>
            <a:ext cx="1731155" cy="633625"/>
          </a:xfrm>
          <a:prstGeom prst="rect">
            <a:avLst/>
          </a:prstGeom>
        </p:spPr>
        <p:txBody>
          <a:bodyPr wrap="none">
            <a:spAutoFit/>
          </a:bodyPr>
          <a:lstStyle/>
          <a:p>
            <a:pPr marL="0" lvl="1" defTabSz="913770" fontAlgn="base">
              <a:spcBef>
                <a:spcPts val="588"/>
              </a:spcBef>
              <a:buClr>
                <a:srgbClr val="505050"/>
              </a:buClr>
            </a:pPr>
            <a:r>
              <a:rPr lang="en-US" sz="1765" kern="0" dirty="0">
                <a:solidFill>
                  <a:srgbClr val="FFFFFF"/>
                </a:solidFill>
                <a:ea typeface="Segoe UI" pitchFamily="34" charset="0"/>
                <a:cs typeface="Segoe UI" pitchFamily="34" charset="0"/>
              </a:rPr>
              <a:t>SDK is available</a:t>
            </a:r>
            <a:br>
              <a:rPr lang="en-US" sz="1765" kern="0" dirty="0">
                <a:solidFill>
                  <a:srgbClr val="FFFFFF"/>
                </a:solidFill>
                <a:ea typeface="Segoe UI" pitchFamily="34" charset="0"/>
                <a:cs typeface="Segoe UI" pitchFamily="34" charset="0"/>
              </a:rPr>
            </a:br>
            <a:r>
              <a:rPr lang="en-US" sz="1765" kern="0" dirty="0">
                <a:solidFill>
                  <a:srgbClr val="FFFFFF"/>
                </a:solidFill>
                <a:ea typeface="Segoe UI" pitchFamily="34" charset="0"/>
                <a:cs typeface="Segoe UI" pitchFamily="34" charset="0"/>
              </a:rPr>
              <a:t>from </a:t>
            </a:r>
            <a:r>
              <a:rPr lang="en-US" sz="1765" kern="0" dirty="0" err="1">
                <a:solidFill>
                  <a:srgbClr val="FFFFFF"/>
                </a:solidFill>
                <a:ea typeface="Segoe UI" pitchFamily="34" charset="0"/>
                <a:cs typeface="Segoe UI" pitchFamily="34" charset="0"/>
              </a:rPr>
              <a:t>NuGet</a:t>
            </a:r>
            <a:endParaRPr lang="en-US" sz="1765" kern="0" dirty="0">
              <a:solidFill>
                <a:srgbClr val="FFFFFF"/>
              </a:solidFill>
              <a:ea typeface="Segoe UI" pitchFamily="34" charset="0"/>
              <a:cs typeface="Segoe UI" pitchFamily="34" charset="0"/>
            </a:endParaRPr>
          </a:p>
        </p:txBody>
      </p:sp>
      <p:sp>
        <p:nvSpPr>
          <p:cNvPr id="6" name="Rectangle 5"/>
          <p:cNvSpPr/>
          <p:nvPr/>
        </p:nvSpPr>
        <p:spPr>
          <a:xfrm>
            <a:off x="3305256" y="1821132"/>
            <a:ext cx="2778917" cy="1176733"/>
          </a:xfrm>
          <a:prstGeom prst="rect">
            <a:avLst/>
          </a:prstGeom>
        </p:spPr>
        <p:txBody>
          <a:bodyPr wrap="square">
            <a:spAutoFit/>
          </a:bodyPr>
          <a:lstStyle/>
          <a:p>
            <a:pPr marL="0" lvl="1" defTabSz="913770" fontAlgn="base">
              <a:spcBef>
                <a:spcPts val="588"/>
              </a:spcBef>
              <a:buClr>
                <a:srgbClr val="505050"/>
              </a:buClr>
            </a:pPr>
            <a:r>
              <a:rPr lang="en-US" sz="1765" kern="0" dirty="0">
                <a:solidFill>
                  <a:srgbClr val="FFFFFF"/>
                </a:solidFill>
                <a:ea typeface="Segoe UI" pitchFamily="34" charset="0"/>
                <a:cs typeface="Segoe UI" pitchFamily="34" charset="0"/>
              </a:rPr>
              <a:t>Tools provided by the codec supplier, </a:t>
            </a:r>
            <a:r>
              <a:rPr lang="en-US" sz="1765" kern="0" dirty="0" err="1">
                <a:solidFill>
                  <a:srgbClr val="FFFFFF"/>
                </a:solidFill>
                <a:ea typeface="Segoe UI" pitchFamily="34" charset="0"/>
                <a:cs typeface="Segoe UI" pitchFamily="34" charset="0"/>
              </a:rPr>
              <a:t>eg</a:t>
            </a:r>
            <a:r>
              <a:rPr lang="en-US" sz="1765" kern="0" dirty="0">
                <a:solidFill>
                  <a:srgbClr val="FFFFFF"/>
                </a:solidFill>
                <a:ea typeface="Segoe UI" pitchFamily="34" charset="0"/>
                <a:cs typeface="Segoe UI" pitchFamily="34" charset="0"/>
              </a:rPr>
              <a:t>. </a:t>
            </a:r>
            <a:r>
              <a:rPr lang="en-US" sz="1765" kern="0" dirty="0" err="1">
                <a:solidFill>
                  <a:srgbClr val="FFFFFF"/>
                </a:solidFill>
                <a:ea typeface="Segoe UI" pitchFamily="34" charset="0"/>
                <a:cs typeface="Segoe UI" pitchFamily="34" charset="0"/>
              </a:rPr>
              <a:t>GZip</a:t>
            </a:r>
            <a:r>
              <a:rPr lang="en-US" sz="1765" kern="0" dirty="0">
                <a:solidFill>
                  <a:srgbClr val="FFFFFF"/>
                </a:solidFill>
                <a:ea typeface="Segoe UI" pitchFamily="34" charset="0"/>
                <a:cs typeface="Segoe UI" pitchFamily="34" charset="0"/>
              </a:rPr>
              <a:t> and BZip2 for compression</a:t>
            </a:r>
          </a:p>
        </p:txBody>
      </p:sp>
      <p:sp>
        <p:nvSpPr>
          <p:cNvPr id="7" name="Rectangle 6"/>
          <p:cNvSpPr/>
          <p:nvPr/>
        </p:nvSpPr>
        <p:spPr>
          <a:xfrm>
            <a:off x="6149849" y="1821131"/>
            <a:ext cx="2778917" cy="1448287"/>
          </a:xfrm>
          <a:prstGeom prst="rect">
            <a:avLst/>
          </a:prstGeom>
        </p:spPr>
        <p:txBody>
          <a:bodyPr wrap="square">
            <a:spAutoFit/>
          </a:bodyPr>
          <a:lstStyle/>
          <a:p>
            <a:pPr marL="0" lvl="1" defTabSz="913770" fontAlgn="base">
              <a:spcBef>
                <a:spcPts val="588"/>
              </a:spcBef>
              <a:buClr>
                <a:srgbClr val="505050"/>
              </a:buClr>
            </a:pPr>
            <a:r>
              <a:rPr lang="en-US" sz="1765" kern="0" dirty="0">
                <a:solidFill>
                  <a:srgbClr val="FFFFFF"/>
                </a:solidFill>
                <a:ea typeface="Segoe UI" pitchFamily="34" charset="0"/>
                <a:cs typeface="Segoe UI" pitchFamily="34" charset="0"/>
              </a:rPr>
              <a:t>Use the classes in the NET Framework to perform </a:t>
            </a:r>
            <a:r>
              <a:rPr lang="en-US" sz="1765" kern="0" dirty="0" err="1">
                <a:solidFill>
                  <a:srgbClr val="FFFFFF"/>
                </a:solidFill>
                <a:ea typeface="Segoe UI" pitchFamily="34" charset="0"/>
                <a:cs typeface="Segoe UI" pitchFamily="34" charset="0"/>
              </a:rPr>
              <a:t>GZip</a:t>
            </a:r>
            <a:r>
              <a:rPr lang="en-US" sz="1765" kern="0" dirty="0">
                <a:solidFill>
                  <a:srgbClr val="FFFFFF"/>
                </a:solidFill>
                <a:ea typeface="Segoe UI" pitchFamily="34" charset="0"/>
                <a:cs typeface="Segoe UI" pitchFamily="34" charset="0"/>
              </a:rPr>
              <a:t> and DEFLATE compression on your source files</a:t>
            </a:r>
          </a:p>
        </p:txBody>
      </p:sp>
      <p:sp>
        <p:nvSpPr>
          <p:cNvPr id="8" name="Rectangle 7"/>
          <p:cNvSpPr/>
          <p:nvPr/>
        </p:nvSpPr>
        <p:spPr>
          <a:xfrm>
            <a:off x="8994441" y="1821131"/>
            <a:ext cx="2778917" cy="1450397"/>
          </a:xfrm>
          <a:prstGeom prst="rect">
            <a:avLst/>
          </a:prstGeom>
        </p:spPr>
        <p:txBody>
          <a:bodyPr wrap="square">
            <a:spAutoFit/>
          </a:bodyPr>
          <a:lstStyle/>
          <a:p>
            <a:pPr marL="0" lvl="1" defTabSz="913770" fontAlgn="base">
              <a:spcBef>
                <a:spcPts val="588"/>
              </a:spcBef>
              <a:buClr>
                <a:srgbClr val="505050"/>
              </a:buClr>
            </a:pPr>
            <a:r>
              <a:rPr lang="en-US" sz="1765" kern="0" dirty="0">
                <a:solidFill>
                  <a:srgbClr val="FFFFFF"/>
                </a:solidFill>
                <a:ea typeface="Segoe UI" pitchFamily="34" charset="0"/>
                <a:cs typeface="Segoe UI" pitchFamily="34" charset="0"/>
              </a:rPr>
              <a:t>Create a query job that is configured to write output in compressed form using one of the built-in codecs</a:t>
            </a:r>
          </a:p>
        </p:txBody>
      </p:sp>
      <p:grpSp>
        <p:nvGrpSpPr>
          <p:cNvPr id="69" name="Group 68"/>
          <p:cNvGrpSpPr/>
          <p:nvPr/>
        </p:nvGrpSpPr>
        <p:grpSpPr>
          <a:xfrm>
            <a:off x="1144077" y="2104588"/>
            <a:ext cx="1412087" cy="1577879"/>
            <a:chOff x="805147" y="2779025"/>
            <a:chExt cx="717920" cy="802211"/>
          </a:xfrm>
        </p:grpSpPr>
        <p:sp>
          <p:nvSpPr>
            <p:cNvPr id="70" name="Oval 3"/>
            <p:cNvSpPr/>
            <p:nvPr/>
          </p:nvSpPr>
          <p:spPr>
            <a:xfrm>
              <a:off x="805147" y="2779025"/>
              <a:ext cx="698978" cy="710269"/>
            </a:xfrm>
            <a:custGeom>
              <a:avLst/>
              <a:gdLst/>
              <a:ahLst/>
              <a:cxnLst/>
              <a:rect l="l" t="t" r="r" b="b"/>
              <a:pathLst>
                <a:path w="3135080" h="3185726">
                  <a:moveTo>
                    <a:pt x="2701501" y="2552282"/>
                  </a:moveTo>
                  <a:cubicBezTo>
                    <a:pt x="2591342" y="2552282"/>
                    <a:pt x="2502040" y="2641585"/>
                    <a:pt x="2502041" y="2751743"/>
                  </a:cubicBezTo>
                  <a:cubicBezTo>
                    <a:pt x="2502040" y="2861903"/>
                    <a:pt x="2591343" y="2951204"/>
                    <a:pt x="2701501" y="2951204"/>
                  </a:cubicBezTo>
                  <a:cubicBezTo>
                    <a:pt x="2811660" y="2951204"/>
                    <a:pt x="2900962" y="2861902"/>
                    <a:pt x="2900962" y="2751744"/>
                  </a:cubicBezTo>
                  <a:cubicBezTo>
                    <a:pt x="2900963" y="2641584"/>
                    <a:pt x="2811660" y="2552283"/>
                    <a:pt x="2701501" y="2552282"/>
                  </a:cubicBezTo>
                  <a:close/>
                  <a:moveTo>
                    <a:pt x="752121" y="0"/>
                  </a:moveTo>
                  <a:cubicBezTo>
                    <a:pt x="1167506" y="0"/>
                    <a:pt x="1504242" y="336736"/>
                    <a:pt x="1504242" y="752121"/>
                  </a:cubicBezTo>
                  <a:cubicBezTo>
                    <a:pt x="1504242" y="812575"/>
                    <a:pt x="1497110" y="871364"/>
                    <a:pt x="1481661" y="927218"/>
                  </a:cubicBezTo>
                  <a:lnTo>
                    <a:pt x="2996658" y="2400787"/>
                  </a:lnTo>
                  <a:cubicBezTo>
                    <a:pt x="3177663" y="2576843"/>
                    <a:pt x="3181675" y="2866298"/>
                    <a:pt x="3005619" y="3047303"/>
                  </a:cubicBezTo>
                  <a:cubicBezTo>
                    <a:pt x="2829563" y="3228309"/>
                    <a:pt x="2540109" y="3232321"/>
                    <a:pt x="2359103" y="3056265"/>
                  </a:cubicBezTo>
                  <a:lnTo>
                    <a:pt x="762889" y="1503698"/>
                  </a:lnTo>
                  <a:cubicBezTo>
                    <a:pt x="759310" y="1504217"/>
                    <a:pt x="755719" y="1504242"/>
                    <a:pt x="752121" y="1504242"/>
                  </a:cubicBezTo>
                  <a:cubicBezTo>
                    <a:pt x="336736" y="1504242"/>
                    <a:pt x="0" y="1167506"/>
                    <a:pt x="0" y="752121"/>
                  </a:cubicBezTo>
                  <a:cubicBezTo>
                    <a:pt x="0" y="656205"/>
                    <a:pt x="17955" y="564482"/>
                    <a:pt x="52447" y="480814"/>
                  </a:cubicBezTo>
                  <a:lnTo>
                    <a:pt x="487026" y="920673"/>
                  </a:lnTo>
                  <a:cubicBezTo>
                    <a:pt x="554414" y="988880"/>
                    <a:pt x="664335" y="989544"/>
                    <a:pt x="732542" y="922156"/>
                  </a:cubicBezTo>
                  <a:lnTo>
                    <a:pt x="879355" y="777105"/>
                  </a:lnTo>
                  <a:cubicBezTo>
                    <a:pt x="947562" y="709717"/>
                    <a:pt x="948226" y="599796"/>
                    <a:pt x="880838" y="531589"/>
                  </a:cubicBezTo>
                  <a:lnTo>
                    <a:pt x="429851" y="75123"/>
                  </a:lnTo>
                  <a:cubicBezTo>
                    <a:pt x="526725" y="26148"/>
                    <a:pt x="636369" y="0"/>
                    <a:pt x="75212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96386"/>
              <a:endParaRPr lang="en-US" sz="1961" kern="0" dirty="0">
                <a:solidFill>
                  <a:srgbClr val="000000"/>
                </a:solidFill>
              </a:endParaRPr>
            </a:p>
          </p:txBody>
        </p:sp>
        <p:grpSp>
          <p:nvGrpSpPr>
            <p:cNvPr id="111" name="Group 110"/>
            <p:cNvGrpSpPr/>
            <p:nvPr/>
          </p:nvGrpSpPr>
          <p:grpSpPr>
            <a:xfrm>
              <a:off x="981286" y="2830673"/>
              <a:ext cx="541781" cy="750563"/>
              <a:chOff x="981286" y="2830673"/>
              <a:chExt cx="541781" cy="750563"/>
            </a:xfrm>
          </p:grpSpPr>
          <p:sp>
            <p:nvSpPr>
              <p:cNvPr id="114" name="Freeform 2016"/>
              <p:cNvSpPr>
                <a:spLocks/>
              </p:cNvSpPr>
              <p:nvPr/>
            </p:nvSpPr>
            <p:spPr bwMode="auto">
              <a:xfrm rot="13465931">
                <a:off x="1318096" y="2830673"/>
                <a:ext cx="204971" cy="332614"/>
              </a:xfrm>
              <a:custGeom>
                <a:avLst/>
                <a:gdLst>
                  <a:gd name="T0" fmla="*/ 190 w 198"/>
                  <a:gd name="T1" fmla="*/ 0 h 222"/>
                  <a:gd name="T2" fmla="*/ 8 w 198"/>
                  <a:gd name="T3" fmla="*/ 0 h 222"/>
                  <a:gd name="T4" fmla="*/ 6 w 198"/>
                  <a:gd name="T5" fmla="*/ 3 h 222"/>
                  <a:gd name="T6" fmla="*/ 6 w 198"/>
                  <a:gd name="T7" fmla="*/ 6 h 222"/>
                  <a:gd name="T8" fmla="*/ 3 w 198"/>
                  <a:gd name="T9" fmla="*/ 11 h 222"/>
                  <a:gd name="T10" fmla="*/ 1 w 198"/>
                  <a:gd name="T11" fmla="*/ 14 h 222"/>
                  <a:gd name="T12" fmla="*/ 0 w 198"/>
                  <a:gd name="T13" fmla="*/ 16 h 222"/>
                  <a:gd name="T14" fmla="*/ 0 w 198"/>
                  <a:gd name="T15" fmla="*/ 17 h 222"/>
                  <a:gd name="T16" fmla="*/ 0 w 198"/>
                  <a:gd name="T17" fmla="*/ 19 h 222"/>
                  <a:gd name="T18" fmla="*/ 0 w 198"/>
                  <a:gd name="T19" fmla="*/ 222 h 222"/>
                  <a:gd name="T20" fmla="*/ 198 w 198"/>
                  <a:gd name="T21" fmla="*/ 222 h 222"/>
                  <a:gd name="T22" fmla="*/ 198 w 198"/>
                  <a:gd name="T23" fmla="*/ 19 h 222"/>
                  <a:gd name="T24" fmla="*/ 198 w 198"/>
                  <a:gd name="T25" fmla="*/ 17 h 222"/>
                  <a:gd name="T26" fmla="*/ 196 w 198"/>
                  <a:gd name="T27" fmla="*/ 16 h 222"/>
                  <a:gd name="T28" fmla="*/ 196 w 198"/>
                  <a:gd name="T29" fmla="*/ 14 h 222"/>
                  <a:gd name="T30" fmla="*/ 195 w 198"/>
                  <a:gd name="T31" fmla="*/ 11 h 222"/>
                  <a:gd name="T32" fmla="*/ 192 w 198"/>
                  <a:gd name="T33" fmla="*/ 6 h 222"/>
                  <a:gd name="T34" fmla="*/ 190 w 198"/>
                  <a:gd name="T35" fmla="*/ 3 h 222"/>
                  <a:gd name="T36" fmla="*/ 190 w 198"/>
                  <a:gd name="T37" fmla="*/ 0 h 222"/>
                  <a:gd name="T38" fmla="*/ 190 w 198"/>
                  <a:gd name="T39"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8" h="222">
                    <a:moveTo>
                      <a:pt x="190" y="0"/>
                    </a:moveTo>
                    <a:lnTo>
                      <a:pt x="8" y="0"/>
                    </a:lnTo>
                    <a:lnTo>
                      <a:pt x="6" y="3"/>
                    </a:lnTo>
                    <a:lnTo>
                      <a:pt x="6" y="6"/>
                    </a:lnTo>
                    <a:lnTo>
                      <a:pt x="3" y="11"/>
                    </a:lnTo>
                    <a:lnTo>
                      <a:pt x="1" y="14"/>
                    </a:lnTo>
                    <a:lnTo>
                      <a:pt x="0" y="16"/>
                    </a:lnTo>
                    <a:lnTo>
                      <a:pt x="0" y="17"/>
                    </a:lnTo>
                    <a:lnTo>
                      <a:pt x="0" y="19"/>
                    </a:lnTo>
                    <a:lnTo>
                      <a:pt x="0" y="222"/>
                    </a:lnTo>
                    <a:lnTo>
                      <a:pt x="198" y="222"/>
                    </a:lnTo>
                    <a:lnTo>
                      <a:pt x="198" y="19"/>
                    </a:lnTo>
                    <a:lnTo>
                      <a:pt x="198" y="17"/>
                    </a:lnTo>
                    <a:lnTo>
                      <a:pt x="196" y="16"/>
                    </a:lnTo>
                    <a:lnTo>
                      <a:pt x="196" y="14"/>
                    </a:lnTo>
                    <a:lnTo>
                      <a:pt x="195" y="11"/>
                    </a:lnTo>
                    <a:lnTo>
                      <a:pt x="192" y="6"/>
                    </a:lnTo>
                    <a:lnTo>
                      <a:pt x="190" y="3"/>
                    </a:lnTo>
                    <a:lnTo>
                      <a:pt x="190" y="0"/>
                    </a:lnTo>
                    <a:lnTo>
                      <a:pt x="190" y="0"/>
                    </a:lnTo>
                    <a:close/>
                  </a:path>
                </a:pathLst>
              </a:custGeom>
              <a:solidFill>
                <a:schemeClr val="bg1"/>
              </a:solidFill>
              <a:ln w="19050">
                <a:noFill/>
                <a:round/>
                <a:headEnd/>
                <a:tailEnd/>
              </a:ln>
              <a:extLst/>
            </p:spPr>
            <p:txBody>
              <a:bodyPr vert="horz" wrap="square" lIns="89619" tIns="44809" rIns="89619" bIns="44809" numCol="1" anchor="t" anchorCtr="0" compatLnSpc="1">
                <a:prstTxWarp prst="textNoShape">
                  <a:avLst/>
                </a:prstTxWarp>
              </a:bodyPr>
              <a:lstStyle/>
              <a:p>
                <a:pPr defTabSz="896118"/>
                <a:endParaRPr lang="en-US" sz="1764" kern="0">
                  <a:solidFill>
                    <a:prstClr val="black"/>
                  </a:solidFill>
                </a:endParaRPr>
              </a:p>
            </p:txBody>
          </p:sp>
          <p:sp>
            <p:nvSpPr>
              <p:cNvPr id="115" name="Freeform 2018"/>
              <p:cNvSpPr>
                <a:spLocks/>
              </p:cNvSpPr>
              <p:nvPr/>
            </p:nvSpPr>
            <p:spPr bwMode="auto">
              <a:xfrm rot="13465931">
                <a:off x="981286" y="3071906"/>
                <a:ext cx="204971" cy="509330"/>
              </a:xfrm>
              <a:custGeom>
                <a:avLst/>
                <a:gdLst>
                  <a:gd name="T0" fmla="*/ 140 w 198"/>
                  <a:gd name="T1" fmla="*/ 153 h 492"/>
                  <a:gd name="T2" fmla="*/ 164 w 198"/>
                  <a:gd name="T3" fmla="*/ 153 h 492"/>
                  <a:gd name="T4" fmla="*/ 164 w 198"/>
                  <a:gd name="T5" fmla="*/ 129 h 492"/>
                  <a:gd name="T6" fmla="*/ 150 w 198"/>
                  <a:gd name="T7" fmla="*/ 129 h 492"/>
                  <a:gd name="T8" fmla="*/ 140 w 198"/>
                  <a:gd name="T9" fmla="*/ 0 h 492"/>
                  <a:gd name="T10" fmla="*/ 58 w 198"/>
                  <a:gd name="T11" fmla="*/ 0 h 492"/>
                  <a:gd name="T12" fmla="*/ 47 w 198"/>
                  <a:gd name="T13" fmla="*/ 129 h 492"/>
                  <a:gd name="T14" fmla="*/ 34 w 198"/>
                  <a:gd name="T15" fmla="*/ 129 h 492"/>
                  <a:gd name="T16" fmla="*/ 34 w 198"/>
                  <a:gd name="T17" fmla="*/ 153 h 492"/>
                  <a:gd name="T18" fmla="*/ 58 w 198"/>
                  <a:gd name="T19" fmla="*/ 153 h 492"/>
                  <a:gd name="T20" fmla="*/ 58 w 198"/>
                  <a:gd name="T21" fmla="*/ 421 h 492"/>
                  <a:gd name="T22" fmla="*/ 0 w 198"/>
                  <a:gd name="T23" fmla="*/ 421 h 492"/>
                  <a:gd name="T24" fmla="*/ 11 w 198"/>
                  <a:gd name="T25" fmla="*/ 468 h 492"/>
                  <a:gd name="T26" fmla="*/ 34 w 198"/>
                  <a:gd name="T27" fmla="*/ 468 h 492"/>
                  <a:gd name="T28" fmla="*/ 28 w 198"/>
                  <a:gd name="T29" fmla="*/ 473 h 492"/>
                  <a:gd name="T30" fmla="*/ 22 w 198"/>
                  <a:gd name="T31" fmla="*/ 479 h 492"/>
                  <a:gd name="T32" fmla="*/ 15 w 198"/>
                  <a:gd name="T33" fmla="*/ 485 h 492"/>
                  <a:gd name="T34" fmla="*/ 11 w 198"/>
                  <a:gd name="T35" fmla="*/ 492 h 492"/>
                  <a:gd name="T36" fmla="*/ 187 w 198"/>
                  <a:gd name="T37" fmla="*/ 492 h 492"/>
                  <a:gd name="T38" fmla="*/ 184 w 198"/>
                  <a:gd name="T39" fmla="*/ 488 h 492"/>
                  <a:gd name="T40" fmla="*/ 181 w 198"/>
                  <a:gd name="T41" fmla="*/ 485 h 492"/>
                  <a:gd name="T42" fmla="*/ 176 w 198"/>
                  <a:gd name="T43" fmla="*/ 479 h 492"/>
                  <a:gd name="T44" fmla="*/ 168 w 198"/>
                  <a:gd name="T45" fmla="*/ 473 h 492"/>
                  <a:gd name="T46" fmla="*/ 164 w 198"/>
                  <a:gd name="T47" fmla="*/ 468 h 492"/>
                  <a:gd name="T48" fmla="*/ 187 w 198"/>
                  <a:gd name="T49" fmla="*/ 468 h 492"/>
                  <a:gd name="T50" fmla="*/ 198 w 198"/>
                  <a:gd name="T51" fmla="*/ 421 h 492"/>
                  <a:gd name="T52" fmla="*/ 140 w 198"/>
                  <a:gd name="T53" fmla="*/ 421 h 492"/>
                  <a:gd name="T54" fmla="*/ 140 w 198"/>
                  <a:gd name="T55" fmla="*/ 153 h 492"/>
                  <a:gd name="T56" fmla="*/ 140 w 198"/>
                  <a:gd name="T57" fmla="*/ 153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8" h="492">
                    <a:moveTo>
                      <a:pt x="140" y="153"/>
                    </a:moveTo>
                    <a:lnTo>
                      <a:pt x="164" y="153"/>
                    </a:lnTo>
                    <a:lnTo>
                      <a:pt x="164" y="129"/>
                    </a:lnTo>
                    <a:lnTo>
                      <a:pt x="150" y="129"/>
                    </a:lnTo>
                    <a:lnTo>
                      <a:pt x="140" y="0"/>
                    </a:lnTo>
                    <a:lnTo>
                      <a:pt x="58" y="0"/>
                    </a:lnTo>
                    <a:lnTo>
                      <a:pt x="47" y="129"/>
                    </a:lnTo>
                    <a:lnTo>
                      <a:pt x="34" y="129"/>
                    </a:lnTo>
                    <a:lnTo>
                      <a:pt x="34" y="153"/>
                    </a:lnTo>
                    <a:lnTo>
                      <a:pt x="58" y="153"/>
                    </a:lnTo>
                    <a:lnTo>
                      <a:pt x="58" y="421"/>
                    </a:lnTo>
                    <a:lnTo>
                      <a:pt x="0" y="421"/>
                    </a:lnTo>
                    <a:lnTo>
                      <a:pt x="11" y="468"/>
                    </a:lnTo>
                    <a:lnTo>
                      <a:pt x="34" y="468"/>
                    </a:lnTo>
                    <a:lnTo>
                      <a:pt x="28" y="473"/>
                    </a:lnTo>
                    <a:lnTo>
                      <a:pt x="22" y="479"/>
                    </a:lnTo>
                    <a:lnTo>
                      <a:pt x="15" y="485"/>
                    </a:lnTo>
                    <a:lnTo>
                      <a:pt x="11" y="492"/>
                    </a:lnTo>
                    <a:lnTo>
                      <a:pt x="187" y="492"/>
                    </a:lnTo>
                    <a:lnTo>
                      <a:pt x="184" y="488"/>
                    </a:lnTo>
                    <a:lnTo>
                      <a:pt x="181" y="485"/>
                    </a:lnTo>
                    <a:lnTo>
                      <a:pt x="176" y="479"/>
                    </a:lnTo>
                    <a:lnTo>
                      <a:pt x="168" y="473"/>
                    </a:lnTo>
                    <a:lnTo>
                      <a:pt x="164" y="468"/>
                    </a:lnTo>
                    <a:lnTo>
                      <a:pt x="187" y="468"/>
                    </a:lnTo>
                    <a:lnTo>
                      <a:pt x="198" y="421"/>
                    </a:lnTo>
                    <a:lnTo>
                      <a:pt x="140" y="421"/>
                    </a:lnTo>
                    <a:lnTo>
                      <a:pt x="140" y="153"/>
                    </a:lnTo>
                    <a:lnTo>
                      <a:pt x="140" y="153"/>
                    </a:lnTo>
                    <a:close/>
                  </a:path>
                </a:pathLst>
              </a:custGeom>
              <a:solidFill>
                <a:schemeClr val="bg1"/>
              </a:solidFill>
              <a:ln w="19050">
                <a:solidFill>
                  <a:schemeClr val="accent3"/>
                </a:solidFill>
                <a:round/>
                <a:headEnd/>
                <a:tailEnd/>
              </a:ln>
              <a:extLst/>
            </p:spPr>
            <p:txBody>
              <a:bodyPr vert="horz" wrap="square" lIns="89619" tIns="44809" rIns="89619" bIns="44809" numCol="1" anchor="t" anchorCtr="0" compatLnSpc="1">
                <a:prstTxWarp prst="textNoShape">
                  <a:avLst/>
                </a:prstTxWarp>
              </a:bodyPr>
              <a:lstStyle/>
              <a:p>
                <a:pPr defTabSz="896118"/>
                <a:endParaRPr lang="en-US" sz="1764" kern="0">
                  <a:solidFill>
                    <a:prstClr val="black"/>
                  </a:solidFill>
                </a:endParaRPr>
              </a:p>
            </p:txBody>
          </p:sp>
        </p:grpSp>
        <p:sp>
          <p:nvSpPr>
            <p:cNvPr id="112" name="TextBox 111"/>
            <p:cNvSpPr txBox="1"/>
            <p:nvPr/>
          </p:nvSpPr>
          <p:spPr>
            <a:xfrm rot="18855593">
              <a:off x="1266027" y="2932442"/>
              <a:ext cx="297328" cy="112129"/>
            </a:xfrm>
            <a:prstGeom prst="rect">
              <a:avLst/>
            </a:prstGeom>
            <a:noFill/>
          </p:spPr>
          <p:txBody>
            <a:bodyPr wrap="none" lIns="0" tIns="0" rIns="0" bIns="0" rtlCol="0" anchor="ctr">
              <a:noAutofit/>
            </a:bodyPr>
            <a:lstStyle/>
            <a:p>
              <a:pPr algn="ctr" defTabSz="896386">
                <a:spcAft>
                  <a:spcPts val="588"/>
                </a:spcAft>
              </a:pPr>
              <a:r>
                <a:rPr lang="en-IN" sz="1568" b="1" kern="0" dirty="0">
                  <a:solidFill>
                    <a:srgbClr val="68217A"/>
                  </a:solidFill>
                </a:rPr>
                <a:t>Azure</a:t>
              </a:r>
            </a:p>
          </p:txBody>
        </p:sp>
        <p:sp>
          <p:nvSpPr>
            <p:cNvPr id="113" name="TextBox 112"/>
            <p:cNvSpPr txBox="1"/>
            <p:nvPr/>
          </p:nvSpPr>
          <p:spPr>
            <a:xfrm>
              <a:off x="1020114" y="3437459"/>
              <a:ext cx="297328" cy="112129"/>
            </a:xfrm>
            <a:prstGeom prst="rect">
              <a:avLst/>
            </a:prstGeom>
            <a:noFill/>
          </p:spPr>
          <p:txBody>
            <a:bodyPr wrap="none" lIns="0" tIns="0" rIns="0" bIns="0" rtlCol="0" anchor="ctr">
              <a:noAutofit/>
            </a:bodyPr>
            <a:lstStyle/>
            <a:p>
              <a:pPr algn="ctr" defTabSz="896386">
                <a:spcAft>
                  <a:spcPts val="588"/>
                </a:spcAft>
              </a:pPr>
              <a:r>
                <a:rPr lang="en-IN" sz="1961" kern="0" dirty="0">
                  <a:solidFill>
                    <a:srgbClr val="FFFFFF"/>
                  </a:solidFill>
                  <a:latin typeface="Segoe UI Semibold" panose="020B0702040204020203" pitchFamily="34" charset="0"/>
                  <a:cs typeface="Segoe UI Semibold" panose="020B0702040204020203" pitchFamily="34" charset="0"/>
                </a:rPr>
                <a:t>SDK</a:t>
              </a:r>
            </a:p>
          </p:txBody>
        </p:sp>
      </p:grpSp>
      <p:grpSp>
        <p:nvGrpSpPr>
          <p:cNvPr id="116" name="Group 115"/>
          <p:cNvGrpSpPr/>
          <p:nvPr/>
        </p:nvGrpSpPr>
        <p:grpSpPr>
          <a:xfrm>
            <a:off x="4184793" y="2087687"/>
            <a:ext cx="1019845" cy="1611678"/>
            <a:chOff x="4788853" y="2855535"/>
            <a:chExt cx="581829" cy="919474"/>
          </a:xfrm>
        </p:grpSpPr>
        <p:sp>
          <p:nvSpPr>
            <p:cNvPr id="117" name="Freeform 2013"/>
            <p:cNvSpPr>
              <a:spLocks/>
            </p:cNvSpPr>
            <p:nvPr/>
          </p:nvSpPr>
          <p:spPr bwMode="auto">
            <a:xfrm>
              <a:off x="5043556" y="2855535"/>
              <a:ext cx="327126" cy="915125"/>
            </a:xfrm>
            <a:custGeom>
              <a:avLst/>
              <a:gdLst>
                <a:gd name="T0" fmla="*/ 315 w 317"/>
                <a:gd name="T1" fmla="*/ 139 h 886"/>
                <a:gd name="T2" fmla="*/ 310 w 317"/>
                <a:gd name="T3" fmla="*/ 113 h 886"/>
                <a:gd name="T4" fmla="*/ 302 w 317"/>
                <a:gd name="T5" fmla="*/ 88 h 886"/>
                <a:gd name="T6" fmla="*/ 290 w 317"/>
                <a:gd name="T7" fmla="*/ 66 h 886"/>
                <a:gd name="T8" fmla="*/ 274 w 317"/>
                <a:gd name="T9" fmla="*/ 45 h 886"/>
                <a:gd name="T10" fmla="*/ 256 w 317"/>
                <a:gd name="T11" fmla="*/ 28 h 886"/>
                <a:gd name="T12" fmla="*/ 235 w 317"/>
                <a:gd name="T13" fmla="*/ 14 h 886"/>
                <a:gd name="T14" fmla="*/ 212 w 317"/>
                <a:gd name="T15" fmla="*/ 3 h 886"/>
                <a:gd name="T16" fmla="*/ 200 w 317"/>
                <a:gd name="T17" fmla="*/ 141 h 886"/>
                <a:gd name="T18" fmla="*/ 140 w 317"/>
                <a:gd name="T19" fmla="*/ 164 h 886"/>
                <a:gd name="T20" fmla="*/ 117 w 317"/>
                <a:gd name="T21" fmla="*/ 0 h 886"/>
                <a:gd name="T22" fmla="*/ 92 w 317"/>
                <a:gd name="T23" fmla="*/ 10 h 886"/>
                <a:gd name="T24" fmla="*/ 70 w 317"/>
                <a:gd name="T25" fmla="*/ 20 h 886"/>
                <a:gd name="T26" fmla="*/ 50 w 317"/>
                <a:gd name="T27" fmla="*/ 38 h 886"/>
                <a:gd name="T28" fmla="*/ 33 w 317"/>
                <a:gd name="T29" fmla="*/ 55 h 886"/>
                <a:gd name="T30" fmla="*/ 19 w 317"/>
                <a:gd name="T31" fmla="*/ 77 h 886"/>
                <a:gd name="T32" fmla="*/ 9 w 317"/>
                <a:gd name="T33" fmla="*/ 100 h 886"/>
                <a:gd name="T34" fmla="*/ 1 w 317"/>
                <a:gd name="T35" fmla="*/ 125 h 886"/>
                <a:gd name="T36" fmla="*/ 0 w 317"/>
                <a:gd name="T37" fmla="*/ 153 h 886"/>
                <a:gd name="T38" fmla="*/ 0 w 317"/>
                <a:gd name="T39" fmla="*/ 155 h 886"/>
                <a:gd name="T40" fmla="*/ 0 w 317"/>
                <a:gd name="T41" fmla="*/ 169 h 886"/>
                <a:gd name="T42" fmla="*/ 4 w 317"/>
                <a:gd name="T43" fmla="*/ 191 h 886"/>
                <a:gd name="T44" fmla="*/ 11 w 317"/>
                <a:gd name="T45" fmla="*/ 213 h 886"/>
                <a:gd name="T46" fmla="*/ 20 w 317"/>
                <a:gd name="T47" fmla="*/ 233 h 886"/>
                <a:gd name="T48" fmla="*/ 33 w 317"/>
                <a:gd name="T49" fmla="*/ 250 h 886"/>
                <a:gd name="T50" fmla="*/ 48 w 317"/>
                <a:gd name="T51" fmla="*/ 267 h 886"/>
                <a:gd name="T52" fmla="*/ 64 w 317"/>
                <a:gd name="T53" fmla="*/ 281 h 886"/>
                <a:gd name="T54" fmla="*/ 84 w 317"/>
                <a:gd name="T55" fmla="*/ 292 h 886"/>
                <a:gd name="T56" fmla="*/ 93 w 317"/>
                <a:gd name="T57" fmla="*/ 825 h 886"/>
                <a:gd name="T58" fmla="*/ 95 w 317"/>
                <a:gd name="T59" fmla="*/ 837 h 886"/>
                <a:gd name="T60" fmla="*/ 98 w 317"/>
                <a:gd name="T61" fmla="*/ 848 h 886"/>
                <a:gd name="T62" fmla="*/ 104 w 317"/>
                <a:gd name="T63" fmla="*/ 859 h 886"/>
                <a:gd name="T64" fmla="*/ 114 w 317"/>
                <a:gd name="T65" fmla="*/ 868 h 886"/>
                <a:gd name="T66" fmla="*/ 123 w 317"/>
                <a:gd name="T67" fmla="*/ 875 h 886"/>
                <a:gd name="T68" fmla="*/ 134 w 317"/>
                <a:gd name="T69" fmla="*/ 881 h 886"/>
                <a:gd name="T70" fmla="*/ 145 w 317"/>
                <a:gd name="T71" fmla="*/ 884 h 886"/>
                <a:gd name="T72" fmla="*/ 159 w 317"/>
                <a:gd name="T73" fmla="*/ 886 h 886"/>
                <a:gd name="T74" fmla="*/ 170 w 317"/>
                <a:gd name="T75" fmla="*/ 884 h 886"/>
                <a:gd name="T76" fmla="*/ 182 w 317"/>
                <a:gd name="T77" fmla="*/ 881 h 886"/>
                <a:gd name="T78" fmla="*/ 193 w 317"/>
                <a:gd name="T79" fmla="*/ 875 h 886"/>
                <a:gd name="T80" fmla="*/ 203 w 317"/>
                <a:gd name="T81" fmla="*/ 868 h 886"/>
                <a:gd name="T82" fmla="*/ 210 w 317"/>
                <a:gd name="T83" fmla="*/ 859 h 886"/>
                <a:gd name="T84" fmla="*/ 217 w 317"/>
                <a:gd name="T85" fmla="*/ 848 h 886"/>
                <a:gd name="T86" fmla="*/ 221 w 317"/>
                <a:gd name="T87" fmla="*/ 837 h 886"/>
                <a:gd name="T88" fmla="*/ 223 w 317"/>
                <a:gd name="T89" fmla="*/ 825 h 886"/>
                <a:gd name="T90" fmla="*/ 232 w 317"/>
                <a:gd name="T91" fmla="*/ 292 h 886"/>
                <a:gd name="T92" fmla="*/ 251 w 317"/>
                <a:gd name="T93" fmla="*/ 281 h 886"/>
                <a:gd name="T94" fmla="*/ 268 w 317"/>
                <a:gd name="T95" fmla="*/ 267 h 886"/>
                <a:gd name="T96" fmla="*/ 282 w 317"/>
                <a:gd name="T97" fmla="*/ 250 h 886"/>
                <a:gd name="T98" fmla="*/ 295 w 317"/>
                <a:gd name="T99" fmla="*/ 233 h 886"/>
                <a:gd name="T100" fmla="*/ 306 w 317"/>
                <a:gd name="T101" fmla="*/ 213 h 886"/>
                <a:gd name="T102" fmla="*/ 312 w 317"/>
                <a:gd name="T103" fmla="*/ 191 h 886"/>
                <a:gd name="T104" fmla="*/ 315 w 317"/>
                <a:gd name="T105" fmla="*/ 169 h 886"/>
                <a:gd name="T106" fmla="*/ 317 w 317"/>
                <a:gd name="T107" fmla="*/ 155 h 886"/>
                <a:gd name="T108" fmla="*/ 317 w 317"/>
                <a:gd name="T109" fmla="*/ 153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7" h="886">
                  <a:moveTo>
                    <a:pt x="317" y="153"/>
                  </a:moveTo>
                  <a:lnTo>
                    <a:pt x="315" y="139"/>
                  </a:lnTo>
                  <a:lnTo>
                    <a:pt x="313" y="125"/>
                  </a:lnTo>
                  <a:lnTo>
                    <a:pt x="310" y="113"/>
                  </a:lnTo>
                  <a:lnTo>
                    <a:pt x="307" y="100"/>
                  </a:lnTo>
                  <a:lnTo>
                    <a:pt x="302" y="88"/>
                  </a:lnTo>
                  <a:lnTo>
                    <a:pt x="296" y="77"/>
                  </a:lnTo>
                  <a:lnTo>
                    <a:pt x="290" y="66"/>
                  </a:lnTo>
                  <a:lnTo>
                    <a:pt x="282" y="55"/>
                  </a:lnTo>
                  <a:lnTo>
                    <a:pt x="274" y="45"/>
                  </a:lnTo>
                  <a:lnTo>
                    <a:pt x="265" y="38"/>
                  </a:lnTo>
                  <a:lnTo>
                    <a:pt x="256" y="28"/>
                  </a:lnTo>
                  <a:lnTo>
                    <a:pt x="246" y="20"/>
                  </a:lnTo>
                  <a:lnTo>
                    <a:pt x="235" y="14"/>
                  </a:lnTo>
                  <a:lnTo>
                    <a:pt x="223" y="10"/>
                  </a:lnTo>
                  <a:lnTo>
                    <a:pt x="212" y="3"/>
                  </a:lnTo>
                  <a:lnTo>
                    <a:pt x="200" y="0"/>
                  </a:lnTo>
                  <a:lnTo>
                    <a:pt x="200" y="141"/>
                  </a:lnTo>
                  <a:lnTo>
                    <a:pt x="176" y="164"/>
                  </a:lnTo>
                  <a:lnTo>
                    <a:pt x="140" y="164"/>
                  </a:lnTo>
                  <a:lnTo>
                    <a:pt x="117" y="141"/>
                  </a:lnTo>
                  <a:lnTo>
                    <a:pt x="117" y="0"/>
                  </a:lnTo>
                  <a:lnTo>
                    <a:pt x="104" y="3"/>
                  </a:lnTo>
                  <a:lnTo>
                    <a:pt x="92" y="10"/>
                  </a:lnTo>
                  <a:lnTo>
                    <a:pt x="81" y="14"/>
                  </a:lnTo>
                  <a:lnTo>
                    <a:pt x="70" y="20"/>
                  </a:lnTo>
                  <a:lnTo>
                    <a:pt x="61" y="28"/>
                  </a:lnTo>
                  <a:lnTo>
                    <a:pt x="50" y="38"/>
                  </a:lnTo>
                  <a:lnTo>
                    <a:pt x="42" y="45"/>
                  </a:lnTo>
                  <a:lnTo>
                    <a:pt x="33" y="55"/>
                  </a:lnTo>
                  <a:lnTo>
                    <a:pt x="26" y="66"/>
                  </a:lnTo>
                  <a:lnTo>
                    <a:pt x="19" y="77"/>
                  </a:lnTo>
                  <a:lnTo>
                    <a:pt x="14" y="88"/>
                  </a:lnTo>
                  <a:lnTo>
                    <a:pt x="9" y="100"/>
                  </a:lnTo>
                  <a:lnTo>
                    <a:pt x="4" y="113"/>
                  </a:lnTo>
                  <a:lnTo>
                    <a:pt x="1" y="125"/>
                  </a:lnTo>
                  <a:lnTo>
                    <a:pt x="0" y="139"/>
                  </a:lnTo>
                  <a:lnTo>
                    <a:pt x="0" y="153"/>
                  </a:lnTo>
                  <a:lnTo>
                    <a:pt x="0" y="153"/>
                  </a:lnTo>
                  <a:lnTo>
                    <a:pt x="0" y="155"/>
                  </a:lnTo>
                  <a:lnTo>
                    <a:pt x="0" y="156"/>
                  </a:lnTo>
                  <a:lnTo>
                    <a:pt x="0" y="169"/>
                  </a:lnTo>
                  <a:lnTo>
                    <a:pt x="1" y="180"/>
                  </a:lnTo>
                  <a:lnTo>
                    <a:pt x="4" y="191"/>
                  </a:lnTo>
                  <a:lnTo>
                    <a:pt x="6" y="202"/>
                  </a:lnTo>
                  <a:lnTo>
                    <a:pt x="11" y="213"/>
                  </a:lnTo>
                  <a:lnTo>
                    <a:pt x="15" y="222"/>
                  </a:lnTo>
                  <a:lnTo>
                    <a:pt x="20" y="233"/>
                  </a:lnTo>
                  <a:lnTo>
                    <a:pt x="26" y="242"/>
                  </a:lnTo>
                  <a:lnTo>
                    <a:pt x="33" y="250"/>
                  </a:lnTo>
                  <a:lnTo>
                    <a:pt x="40" y="259"/>
                  </a:lnTo>
                  <a:lnTo>
                    <a:pt x="48" y="267"/>
                  </a:lnTo>
                  <a:lnTo>
                    <a:pt x="56" y="275"/>
                  </a:lnTo>
                  <a:lnTo>
                    <a:pt x="64" y="281"/>
                  </a:lnTo>
                  <a:lnTo>
                    <a:pt x="73" y="288"/>
                  </a:lnTo>
                  <a:lnTo>
                    <a:pt x="84" y="292"/>
                  </a:lnTo>
                  <a:lnTo>
                    <a:pt x="93" y="298"/>
                  </a:lnTo>
                  <a:lnTo>
                    <a:pt x="93" y="825"/>
                  </a:lnTo>
                  <a:lnTo>
                    <a:pt x="93" y="831"/>
                  </a:lnTo>
                  <a:lnTo>
                    <a:pt x="95" y="837"/>
                  </a:lnTo>
                  <a:lnTo>
                    <a:pt x="97" y="842"/>
                  </a:lnTo>
                  <a:lnTo>
                    <a:pt x="98" y="848"/>
                  </a:lnTo>
                  <a:lnTo>
                    <a:pt x="101" y="853"/>
                  </a:lnTo>
                  <a:lnTo>
                    <a:pt x="104" y="859"/>
                  </a:lnTo>
                  <a:lnTo>
                    <a:pt x="109" y="864"/>
                  </a:lnTo>
                  <a:lnTo>
                    <a:pt x="114" y="868"/>
                  </a:lnTo>
                  <a:lnTo>
                    <a:pt x="118" y="872"/>
                  </a:lnTo>
                  <a:lnTo>
                    <a:pt x="123" y="875"/>
                  </a:lnTo>
                  <a:lnTo>
                    <a:pt x="128" y="878"/>
                  </a:lnTo>
                  <a:lnTo>
                    <a:pt x="134" y="881"/>
                  </a:lnTo>
                  <a:lnTo>
                    <a:pt x="140" y="882"/>
                  </a:lnTo>
                  <a:lnTo>
                    <a:pt x="145" y="884"/>
                  </a:lnTo>
                  <a:lnTo>
                    <a:pt x="151" y="886"/>
                  </a:lnTo>
                  <a:lnTo>
                    <a:pt x="159" y="886"/>
                  </a:lnTo>
                  <a:lnTo>
                    <a:pt x="165" y="886"/>
                  </a:lnTo>
                  <a:lnTo>
                    <a:pt x="170" y="884"/>
                  </a:lnTo>
                  <a:lnTo>
                    <a:pt x="176" y="882"/>
                  </a:lnTo>
                  <a:lnTo>
                    <a:pt x="182" y="881"/>
                  </a:lnTo>
                  <a:lnTo>
                    <a:pt x="189" y="878"/>
                  </a:lnTo>
                  <a:lnTo>
                    <a:pt x="193" y="875"/>
                  </a:lnTo>
                  <a:lnTo>
                    <a:pt x="198" y="872"/>
                  </a:lnTo>
                  <a:lnTo>
                    <a:pt x="203" y="868"/>
                  </a:lnTo>
                  <a:lnTo>
                    <a:pt x="207" y="864"/>
                  </a:lnTo>
                  <a:lnTo>
                    <a:pt x="210" y="859"/>
                  </a:lnTo>
                  <a:lnTo>
                    <a:pt x="214" y="853"/>
                  </a:lnTo>
                  <a:lnTo>
                    <a:pt x="217" y="848"/>
                  </a:lnTo>
                  <a:lnTo>
                    <a:pt x="220" y="842"/>
                  </a:lnTo>
                  <a:lnTo>
                    <a:pt x="221" y="837"/>
                  </a:lnTo>
                  <a:lnTo>
                    <a:pt x="221" y="831"/>
                  </a:lnTo>
                  <a:lnTo>
                    <a:pt x="223" y="825"/>
                  </a:lnTo>
                  <a:lnTo>
                    <a:pt x="223" y="298"/>
                  </a:lnTo>
                  <a:lnTo>
                    <a:pt x="232" y="292"/>
                  </a:lnTo>
                  <a:lnTo>
                    <a:pt x="242" y="288"/>
                  </a:lnTo>
                  <a:lnTo>
                    <a:pt x="251" y="281"/>
                  </a:lnTo>
                  <a:lnTo>
                    <a:pt x="260" y="275"/>
                  </a:lnTo>
                  <a:lnTo>
                    <a:pt x="268" y="267"/>
                  </a:lnTo>
                  <a:lnTo>
                    <a:pt x="276" y="259"/>
                  </a:lnTo>
                  <a:lnTo>
                    <a:pt x="282" y="250"/>
                  </a:lnTo>
                  <a:lnTo>
                    <a:pt x="290" y="242"/>
                  </a:lnTo>
                  <a:lnTo>
                    <a:pt x="295" y="233"/>
                  </a:lnTo>
                  <a:lnTo>
                    <a:pt x="301" y="222"/>
                  </a:lnTo>
                  <a:lnTo>
                    <a:pt x="306" y="213"/>
                  </a:lnTo>
                  <a:lnTo>
                    <a:pt x="309" y="202"/>
                  </a:lnTo>
                  <a:lnTo>
                    <a:pt x="312" y="191"/>
                  </a:lnTo>
                  <a:lnTo>
                    <a:pt x="313" y="180"/>
                  </a:lnTo>
                  <a:lnTo>
                    <a:pt x="315" y="169"/>
                  </a:lnTo>
                  <a:lnTo>
                    <a:pt x="317" y="156"/>
                  </a:lnTo>
                  <a:lnTo>
                    <a:pt x="317" y="155"/>
                  </a:lnTo>
                  <a:lnTo>
                    <a:pt x="317" y="153"/>
                  </a:lnTo>
                  <a:lnTo>
                    <a:pt x="317" y="153"/>
                  </a:lnTo>
                  <a:lnTo>
                    <a:pt x="317" y="153"/>
                  </a:lnTo>
                  <a:close/>
                </a:path>
              </a:pathLst>
            </a:custGeom>
            <a:solidFill>
              <a:schemeClr val="bg1"/>
            </a:solidFill>
            <a:ln w="9525">
              <a:noFill/>
              <a:round/>
              <a:headEnd/>
              <a:tailEnd/>
            </a:ln>
            <a:extLst/>
          </p:spPr>
          <p:txBody>
            <a:bodyPr vert="horz" wrap="square" lIns="89619" tIns="44809" rIns="89619" bIns="44809" numCol="1" anchor="t" anchorCtr="0" compatLnSpc="1">
              <a:prstTxWarp prst="textNoShape">
                <a:avLst/>
              </a:prstTxWarp>
            </a:bodyPr>
            <a:lstStyle/>
            <a:p>
              <a:pPr defTabSz="896118"/>
              <a:endParaRPr lang="en-US" sz="1764" kern="0">
                <a:solidFill>
                  <a:prstClr val="black"/>
                </a:solidFill>
              </a:endParaRPr>
            </a:p>
          </p:txBody>
        </p:sp>
        <p:grpSp>
          <p:nvGrpSpPr>
            <p:cNvPr id="118" name="Group 117"/>
            <p:cNvGrpSpPr/>
            <p:nvPr/>
          </p:nvGrpSpPr>
          <p:grpSpPr>
            <a:xfrm>
              <a:off x="4788853" y="2878506"/>
              <a:ext cx="204971" cy="896503"/>
              <a:chOff x="4788853" y="2878506"/>
              <a:chExt cx="204971" cy="896503"/>
            </a:xfrm>
          </p:grpSpPr>
          <p:sp>
            <p:nvSpPr>
              <p:cNvPr id="119" name="Freeform 2016"/>
              <p:cNvSpPr>
                <a:spLocks/>
              </p:cNvSpPr>
              <p:nvPr/>
            </p:nvSpPr>
            <p:spPr bwMode="auto">
              <a:xfrm>
                <a:off x="4788853" y="3412681"/>
                <a:ext cx="204971" cy="229820"/>
              </a:xfrm>
              <a:custGeom>
                <a:avLst/>
                <a:gdLst>
                  <a:gd name="T0" fmla="*/ 190 w 198"/>
                  <a:gd name="T1" fmla="*/ 0 h 222"/>
                  <a:gd name="T2" fmla="*/ 8 w 198"/>
                  <a:gd name="T3" fmla="*/ 0 h 222"/>
                  <a:gd name="T4" fmla="*/ 6 w 198"/>
                  <a:gd name="T5" fmla="*/ 3 h 222"/>
                  <a:gd name="T6" fmla="*/ 6 w 198"/>
                  <a:gd name="T7" fmla="*/ 6 h 222"/>
                  <a:gd name="T8" fmla="*/ 3 w 198"/>
                  <a:gd name="T9" fmla="*/ 11 h 222"/>
                  <a:gd name="T10" fmla="*/ 1 w 198"/>
                  <a:gd name="T11" fmla="*/ 14 h 222"/>
                  <a:gd name="T12" fmla="*/ 0 w 198"/>
                  <a:gd name="T13" fmla="*/ 16 h 222"/>
                  <a:gd name="T14" fmla="*/ 0 w 198"/>
                  <a:gd name="T15" fmla="*/ 17 h 222"/>
                  <a:gd name="T16" fmla="*/ 0 w 198"/>
                  <a:gd name="T17" fmla="*/ 19 h 222"/>
                  <a:gd name="T18" fmla="*/ 0 w 198"/>
                  <a:gd name="T19" fmla="*/ 222 h 222"/>
                  <a:gd name="T20" fmla="*/ 198 w 198"/>
                  <a:gd name="T21" fmla="*/ 222 h 222"/>
                  <a:gd name="T22" fmla="*/ 198 w 198"/>
                  <a:gd name="T23" fmla="*/ 19 h 222"/>
                  <a:gd name="T24" fmla="*/ 198 w 198"/>
                  <a:gd name="T25" fmla="*/ 17 h 222"/>
                  <a:gd name="T26" fmla="*/ 196 w 198"/>
                  <a:gd name="T27" fmla="*/ 16 h 222"/>
                  <a:gd name="T28" fmla="*/ 196 w 198"/>
                  <a:gd name="T29" fmla="*/ 14 h 222"/>
                  <a:gd name="T30" fmla="*/ 195 w 198"/>
                  <a:gd name="T31" fmla="*/ 11 h 222"/>
                  <a:gd name="T32" fmla="*/ 192 w 198"/>
                  <a:gd name="T33" fmla="*/ 6 h 222"/>
                  <a:gd name="T34" fmla="*/ 190 w 198"/>
                  <a:gd name="T35" fmla="*/ 3 h 222"/>
                  <a:gd name="T36" fmla="*/ 190 w 198"/>
                  <a:gd name="T37" fmla="*/ 0 h 222"/>
                  <a:gd name="T38" fmla="*/ 190 w 198"/>
                  <a:gd name="T39"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8" h="222">
                    <a:moveTo>
                      <a:pt x="190" y="0"/>
                    </a:moveTo>
                    <a:lnTo>
                      <a:pt x="8" y="0"/>
                    </a:lnTo>
                    <a:lnTo>
                      <a:pt x="6" y="3"/>
                    </a:lnTo>
                    <a:lnTo>
                      <a:pt x="6" y="6"/>
                    </a:lnTo>
                    <a:lnTo>
                      <a:pt x="3" y="11"/>
                    </a:lnTo>
                    <a:lnTo>
                      <a:pt x="1" y="14"/>
                    </a:lnTo>
                    <a:lnTo>
                      <a:pt x="0" y="16"/>
                    </a:lnTo>
                    <a:lnTo>
                      <a:pt x="0" y="17"/>
                    </a:lnTo>
                    <a:lnTo>
                      <a:pt x="0" y="19"/>
                    </a:lnTo>
                    <a:lnTo>
                      <a:pt x="0" y="222"/>
                    </a:lnTo>
                    <a:lnTo>
                      <a:pt x="198" y="222"/>
                    </a:lnTo>
                    <a:lnTo>
                      <a:pt x="198" y="19"/>
                    </a:lnTo>
                    <a:lnTo>
                      <a:pt x="198" y="17"/>
                    </a:lnTo>
                    <a:lnTo>
                      <a:pt x="196" y="16"/>
                    </a:lnTo>
                    <a:lnTo>
                      <a:pt x="196" y="14"/>
                    </a:lnTo>
                    <a:lnTo>
                      <a:pt x="195" y="11"/>
                    </a:lnTo>
                    <a:lnTo>
                      <a:pt x="192" y="6"/>
                    </a:lnTo>
                    <a:lnTo>
                      <a:pt x="190" y="3"/>
                    </a:lnTo>
                    <a:lnTo>
                      <a:pt x="190" y="0"/>
                    </a:lnTo>
                    <a:lnTo>
                      <a:pt x="190" y="0"/>
                    </a:lnTo>
                    <a:close/>
                  </a:path>
                </a:pathLst>
              </a:custGeom>
              <a:solidFill>
                <a:schemeClr val="bg1"/>
              </a:solidFill>
              <a:ln w="9525">
                <a:noFill/>
                <a:round/>
                <a:headEnd/>
                <a:tailEnd/>
              </a:ln>
              <a:extLst/>
            </p:spPr>
            <p:txBody>
              <a:bodyPr vert="horz" wrap="square" lIns="89619" tIns="44809" rIns="89619" bIns="44809" numCol="1" anchor="t" anchorCtr="0" compatLnSpc="1">
                <a:prstTxWarp prst="textNoShape">
                  <a:avLst/>
                </a:prstTxWarp>
              </a:bodyPr>
              <a:lstStyle/>
              <a:p>
                <a:pPr defTabSz="896118"/>
                <a:endParaRPr lang="en-US" sz="1764" kern="0">
                  <a:solidFill>
                    <a:prstClr val="black"/>
                  </a:solidFill>
                </a:endParaRPr>
              </a:p>
            </p:txBody>
          </p:sp>
          <p:sp>
            <p:nvSpPr>
              <p:cNvPr id="120" name="Freeform 2017"/>
              <p:cNvSpPr>
                <a:spLocks/>
              </p:cNvSpPr>
              <p:nvPr/>
            </p:nvSpPr>
            <p:spPr bwMode="auto">
              <a:xfrm>
                <a:off x="4788853" y="3669416"/>
                <a:ext cx="204971" cy="105593"/>
              </a:xfrm>
              <a:custGeom>
                <a:avLst/>
                <a:gdLst>
                  <a:gd name="T0" fmla="*/ 0 w 198"/>
                  <a:gd name="T1" fmla="*/ 10 h 102"/>
                  <a:gd name="T2" fmla="*/ 0 w 198"/>
                  <a:gd name="T3" fmla="*/ 28 h 102"/>
                  <a:gd name="T4" fmla="*/ 0 w 198"/>
                  <a:gd name="T5" fmla="*/ 38 h 102"/>
                  <a:gd name="T6" fmla="*/ 1 w 198"/>
                  <a:gd name="T7" fmla="*/ 46 h 102"/>
                  <a:gd name="T8" fmla="*/ 3 w 198"/>
                  <a:gd name="T9" fmla="*/ 53 h 102"/>
                  <a:gd name="T10" fmla="*/ 4 w 198"/>
                  <a:gd name="T11" fmla="*/ 61 h 102"/>
                  <a:gd name="T12" fmla="*/ 8 w 198"/>
                  <a:gd name="T13" fmla="*/ 69 h 102"/>
                  <a:gd name="T14" fmla="*/ 12 w 198"/>
                  <a:gd name="T15" fmla="*/ 75 h 102"/>
                  <a:gd name="T16" fmla="*/ 17 w 198"/>
                  <a:gd name="T17" fmla="*/ 81 h 102"/>
                  <a:gd name="T18" fmla="*/ 23 w 198"/>
                  <a:gd name="T19" fmla="*/ 86 h 102"/>
                  <a:gd name="T20" fmla="*/ 31 w 198"/>
                  <a:gd name="T21" fmla="*/ 91 h 102"/>
                  <a:gd name="T22" fmla="*/ 36 w 198"/>
                  <a:gd name="T23" fmla="*/ 92 h 102"/>
                  <a:gd name="T24" fmla="*/ 42 w 198"/>
                  <a:gd name="T25" fmla="*/ 94 h 102"/>
                  <a:gd name="T26" fmla="*/ 47 w 198"/>
                  <a:gd name="T27" fmla="*/ 95 h 102"/>
                  <a:gd name="T28" fmla="*/ 53 w 198"/>
                  <a:gd name="T29" fmla="*/ 97 h 102"/>
                  <a:gd name="T30" fmla="*/ 59 w 198"/>
                  <a:gd name="T31" fmla="*/ 99 h 102"/>
                  <a:gd name="T32" fmla="*/ 65 w 198"/>
                  <a:gd name="T33" fmla="*/ 100 h 102"/>
                  <a:gd name="T34" fmla="*/ 73 w 198"/>
                  <a:gd name="T35" fmla="*/ 100 h 102"/>
                  <a:gd name="T36" fmla="*/ 81 w 198"/>
                  <a:gd name="T37" fmla="*/ 102 h 102"/>
                  <a:gd name="T38" fmla="*/ 89 w 198"/>
                  <a:gd name="T39" fmla="*/ 102 h 102"/>
                  <a:gd name="T40" fmla="*/ 98 w 198"/>
                  <a:gd name="T41" fmla="*/ 102 h 102"/>
                  <a:gd name="T42" fmla="*/ 106 w 198"/>
                  <a:gd name="T43" fmla="*/ 102 h 102"/>
                  <a:gd name="T44" fmla="*/ 115 w 198"/>
                  <a:gd name="T45" fmla="*/ 102 h 102"/>
                  <a:gd name="T46" fmla="*/ 123 w 198"/>
                  <a:gd name="T47" fmla="*/ 100 h 102"/>
                  <a:gd name="T48" fmla="*/ 131 w 198"/>
                  <a:gd name="T49" fmla="*/ 100 h 102"/>
                  <a:gd name="T50" fmla="*/ 137 w 198"/>
                  <a:gd name="T51" fmla="*/ 99 h 102"/>
                  <a:gd name="T52" fmla="*/ 143 w 198"/>
                  <a:gd name="T53" fmla="*/ 97 h 102"/>
                  <a:gd name="T54" fmla="*/ 150 w 198"/>
                  <a:gd name="T55" fmla="*/ 95 h 102"/>
                  <a:gd name="T56" fmla="*/ 156 w 198"/>
                  <a:gd name="T57" fmla="*/ 94 h 102"/>
                  <a:gd name="T58" fmla="*/ 161 w 198"/>
                  <a:gd name="T59" fmla="*/ 92 h 102"/>
                  <a:gd name="T60" fmla="*/ 165 w 198"/>
                  <a:gd name="T61" fmla="*/ 91 h 102"/>
                  <a:gd name="T62" fmla="*/ 170 w 198"/>
                  <a:gd name="T63" fmla="*/ 89 h 102"/>
                  <a:gd name="T64" fmla="*/ 173 w 198"/>
                  <a:gd name="T65" fmla="*/ 86 h 102"/>
                  <a:gd name="T66" fmla="*/ 181 w 198"/>
                  <a:gd name="T67" fmla="*/ 81 h 102"/>
                  <a:gd name="T68" fmla="*/ 185 w 198"/>
                  <a:gd name="T69" fmla="*/ 75 h 102"/>
                  <a:gd name="T70" fmla="*/ 190 w 198"/>
                  <a:gd name="T71" fmla="*/ 69 h 102"/>
                  <a:gd name="T72" fmla="*/ 193 w 198"/>
                  <a:gd name="T73" fmla="*/ 61 h 102"/>
                  <a:gd name="T74" fmla="*/ 195 w 198"/>
                  <a:gd name="T75" fmla="*/ 53 h 102"/>
                  <a:gd name="T76" fmla="*/ 196 w 198"/>
                  <a:gd name="T77" fmla="*/ 46 h 102"/>
                  <a:gd name="T78" fmla="*/ 198 w 198"/>
                  <a:gd name="T79" fmla="*/ 38 h 102"/>
                  <a:gd name="T80" fmla="*/ 198 w 198"/>
                  <a:gd name="T81" fmla="*/ 28 h 102"/>
                  <a:gd name="T82" fmla="*/ 198 w 198"/>
                  <a:gd name="T83" fmla="*/ 10 h 102"/>
                  <a:gd name="T84" fmla="*/ 198 w 198"/>
                  <a:gd name="T85" fmla="*/ 10 h 102"/>
                  <a:gd name="T86" fmla="*/ 198 w 198"/>
                  <a:gd name="T87" fmla="*/ 0 h 102"/>
                  <a:gd name="T88" fmla="*/ 0 w 198"/>
                  <a:gd name="T89" fmla="*/ 0 h 102"/>
                  <a:gd name="T90" fmla="*/ 0 w 198"/>
                  <a:gd name="T91" fmla="*/ 10 h 102"/>
                  <a:gd name="T92" fmla="*/ 0 w 198"/>
                  <a:gd name="T93" fmla="*/ 1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8" h="102">
                    <a:moveTo>
                      <a:pt x="0" y="10"/>
                    </a:moveTo>
                    <a:lnTo>
                      <a:pt x="0" y="28"/>
                    </a:lnTo>
                    <a:lnTo>
                      <a:pt x="0" y="38"/>
                    </a:lnTo>
                    <a:lnTo>
                      <a:pt x="1" y="46"/>
                    </a:lnTo>
                    <a:lnTo>
                      <a:pt x="3" y="53"/>
                    </a:lnTo>
                    <a:lnTo>
                      <a:pt x="4" y="61"/>
                    </a:lnTo>
                    <a:lnTo>
                      <a:pt x="8" y="69"/>
                    </a:lnTo>
                    <a:lnTo>
                      <a:pt x="12" y="75"/>
                    </a:lnTo>
                    <a:lnTo>
                      <a:pt x="17" y="81"/>
                    </a:lnTo>
                    <a:lnTo>
                      <a:pt x="23" y="86"/>
                    </a:lnTo>
                    <a:lnTo>
                      <a:pt x="31" y="91"/>
                    </a:lnTo>
                    <a:lnTo>
                      <a:pt x="36" y="92"/>
                    </a:lnTo>
                    <a:lnTo>
                      <a:pt x="42" y="94"/>
                    </a:lnTo>
                    <a:lnTo>
                      <a:pt x="47" y="95"/>
                    </a:lnTo>
                    <a:lnTo>
                      <a:pt x="53" y="97"/>
                    </a:lnTo>
                    <a:lnTo>
                      <a:pt x="59" y="99"/>
                    </a:lnTo>
                    <a:lnTo>
                      <a:pt x="65" y="100"/>
                    </a:lnTo>
                    <a:lnTo>
                      <a:pt x="73" y="100"/>
                    </a:lnTo>
                    <a:lnTo>
                      <a:pt x="81" y="102"/>
                    </a:lnTo>
                    <a:lnTo>
                      <a:pt x="89" y="102"/>
                    </a:lnTo>
                    <a:lnTo>
                      <a:pt x="98" y="102"/>
                    </a:lnTo>
                    <a:lnTo>
                      <a:pt x="106" y="102"/>
                    </a:lnTo>
                    <a:lnTo>
                      <a:pt x="115" y="102"/>
                    </a:lnTo>
                    <a:lnTo>
                      <a:pt x="123" y="100"/>
                    </a:lnTo>
                    <a:lnTo>
                      <a:pt x="131" y="100"/>
                    </a:lnTo>
                    <a:lnTo>
                      <a:pt x="137" y="99"/>
                    </a:lnTo>
                    <a:lnTo>
                      <a:pt x="143" y="97"/>
                    </a:lnTo>
                    <a:lnTo>
                      <a:pt x="150" y="95"/>
                    </a:lnTo>
                    <a:lnTo>
                      <a:pt x="156" y="94"/>
                    </a:lnTo>
                    <a:lnTo>
                      <a:pt x="161" y="92"/>
                    </a:lnTo>
                    <a:lnTo>
                      <a:pt x="165" y="91"/>
                    </a:lnTo>
                    <a:lnTo>
                      <a:pt x="170" y="89"/>
                    </a:lnTo>
                    <a:lnTo>
                      <a:pt x="173" y="86"/>
                    </a:lnTo>
                    <a:lnTo>
                      <a:pt x="181" y="81"/>
                    </a:lnTo>
                    <a:lnTo>
                      <a:pt x="185" y="75"/>
                    </a:lnTo>
                    <a:lnTo>
                      <a:pt x="190" y="69"/>
                    </a:lnTo>
                    <a:lnTo>
                      <a:pt x="193" y="61"/>
                    </a:lnTo>
                    <a:lnTo>
                      <a:pt x="195" y="53"/>
                    </a:lnTo>
                    <a:lnTo>
                      <a:pt x="196" y="46"/>
                    </a:lnTo>
                    <a:lnTo>
                      <a:pt x="198" y="38"/>
                    </a:lnTo>
                    <a:lnTo>
                      <a:pt x="198" y="28"/>
                    </a:lnTo>
                    <a:lnTo>
                      <a:pt x="198" y="10"/>
                    </a:lnTo>
                    <a:lnTo>
                      <a:pt x="198" y="10"/>
                    </a:lnTo>
                    <a:lnTo>
                      <a:pt x="198" y="0"/>
                    </a:lnTo>
                    <a:lnTo>
                      <a:pt x="0" y="0"/>
                    </a:lnTo>
                    <a:lnTo>
                      <a:pt x="0" y="10"/>
                    </a:lnTo>
                    <a:lnTo>
                      <a:pt x="0" y="10"/>
                    </a:lnTo>
                    <a:close/>
                  </a:path>
                </a:pathLst>
              </a:custGeom>
              <a:solidFill>
                <a:schemeClr val="bg1"/>
              </a:solidFill>
              <a:ln w="9525">
                <a:noFill/>
                <a:round/>
                <a:headEnd/>
                <a:tailEnd/>
              </a:ln>
              <a:extLst/>
            </p:spPr>
            <p:txBody>
              <a:bodyPr vert="horz" wrap="square" lIns="89619" tIns="44809" rIns="89619" bIns="44809" numCol="1" anchor="t" anchorCtr="0" compatLnSpc="1">
                <a:prstTxWarp prst="textNoShape">
                  <a:avLst/>
                </a:prstTxWarp>
              </a:bodyPr>
              <a:lstStyle/>
              <a:p>
                <a:pPr defTabSz="896118"/>
                <a:endParaRPr lang="en-US" sz="1764" kern="0">
                  <a:solidFill>
                    <a:prstClr val="black"/>
                  </a:solidFill>
                </a:endParaRPr>
              </a:p>
            </p:txBody>
          </p:sp>
          <p:sp>
            <p:nvSpPr>
              <p:cNvPr id="121" name="Freeform 2018"/>
              <p:cNvSpPr>
                <a:spLocks/>
              </p:cNvSpPr>
              <p:nvPr/>
            </p:nvSpPr>
            <p:spPr bwMode="auto">
              <a:xfrm>
                <a:off x="4788853" y="2878506"/>
                <a:ext cx="204971" cy="509330"/>
              </a:xfrm>
              <a:custGeom>
                <a:avLst/>
                <a:gdLst>
                  <a:gd name="T0" fmla="*/ 140 w 198"/>
                  <a:gd name="T1" fmla="*/ 153 h 492"/>
                  <a:gd name="T2" fmla="*/ 164 w 198"/>
                  <a:gd name="T3" fmla="*/ 153 h 492"/>
                  <a:gd name="T4" fmla="*/ 164 w 198"/>
                  <a:gd name="T5" fmla="*/ 129 h 492"/>
                  <a:gd name="T6" fmla="*/ 150 w 198"/>
                  <a:gd name="T7" fmla="*/ 129 h 492"/>
                  <a:gd name="T8" fmla="*/ 140 w 198"/>
                  <a:gd name="T9" fmla="*/ 0 h 492"/>
                  <a:gd name="T10" fmla="*/ 58 w 198"/>
                  <a:gd name="T11" fmla="*/ 0 h 492"/>
                  <a:gd name="T12" fmla="*/ 47 w 198"/>
                  <a:gd name="T13" fmla="*/ 129 h 492"/>
                  <a:gd name="T14" fmla="*/ 34 w 198"/>
                  <a:gd name="T15" fmla="*/ 129 h 492"/>
                  <a:gd name="T16" fmla="*/ 34 w 198"/>
                  <a:gd name="T17" fmla="*/ 153 h 492"/>
                  <a:gd name="T18" fmla="*/ 58 w 198"/>
                  <a:gd name="T19" fmla="*/ 153 h 492"/>
                  <a:gd name="T20" fmla="*/ 58 w 198"/>
                  <a:gd name="T21" fmla="*/ 421 h 492"/>
                  <a:gd name="T22" fmla="*/ 0 w 198"/>
                  <a:gd name="T23" fmla="*/ 421 h 492"/>
                  <a:gd name="T24" fmla="*/ 11 w 198"/>
                  <a:gd name="T25" fmla="*/ 468 h 492"/>
                  <a:gd name="T26" fmla="*/ 34 w 198"/>
                  <a:gd name="T27" fmla="*/ 468 h 492"/>
                  <a:gd name="T28" fmla="*/ 28 w 198"/>
                  <a:gd name="T29" fmla="*/ 473 h 492"/>
                  <a:gd name="T30" fmla="*/ 22 w 198"/>
                  <a:gd name="T31" fmla="*/ 479 h 492"/>
                  <a:gd name="T32" fmla="*/ 15 w 198"/>
                  <a:gd name="T33" fmla="*/ 485 h 492"/>
                  <a:gd name="T34" fmla="*/ 11 w 198"/>
                  <a:gd name="T35" fmla="*/ 492 h 492"/>
                  <a:gd name="T36" fmla="*/ 187 w 198"/>
                  <a:gd name="T37" fmla="*/ 492 h 492"/>
                  <a:gd name="T38" fmla="*/ 184 w 198"/>
                  <a:gd name="T39" fmla="*/ 488 h 492"/>
                  <a:gd name="T40" fmla="*/ 181 w 198"/>
                  <a:gd name="T41" fmla="*/ 485 h 492"/>
                  <a:gd name="T42" fmla="*/ 176 w 198"/>
                  <a:gd name="T43" fmla="*/ 479 h 492"/>
                  <a:gd name="T44" fmla="*/ 168 w 198"/>
                  <a:gd name="T45" fmla="*/ 473 h 492"/>
                  <a:gd name="T46" fmla="*/ 164 w 198"/>
                  <a:gd name="T47" fmla="*/ 468 h 492"/>
                  <a:gd name="T48" fmla="*/ 187 w 198"/>
                  <a:gd name="T49" fmla="*/ 468 h 492"/>
                  <a:gd name="T50" fmla="*/ 198 w 198"/>
                  <a:gd name="T51" fmla="*/ 421 h 492"/>
                  <a:gd name="T52" fmla="*/ 140 w 198"/>
                  <a:gd name="T53" fmla="*/ 421 h 492"/>
                  <a:gd name="T54" fmla="*/ 140 w 198"/>
                  <a:gd name="T55" fmla="*/ 153 h 492"/>
                  <a:gd name="T56" fmla="*/ 140 w 198"/>
                  <a:gd name="T57" fmla="*/ 153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8" h="492">
                    <a:moveTo>
                      <a:pt x="140" y="153"/>
                    </a:moveTo>
                    <a:lnTo>
                      <a:pt x="164" y="153"/>
                    </a:lnTo>
                    <a:lnTo>
                      <a:pt x="164" y="129"/>
                    </a:lnTo>
                    <a:lnTo>
                      <a:pt x="150" y="129"/>
                    </a:lnTo>
                    <a:lnTo>
                      <a:pt x="140" y="0"/>
                    </a:lnTo>
                    <a:lnTo>
                      <a:pt x="58" y="0"/>
                    </a:lnTo>
                    <a:lnTo>
                      <a:pt x="47" y="129"/>
                    </a:lnTo>
                    <a:lnTo>
                      <a:pt x="34" y="129"/>
                    </a:lnTo>
                    <a:lnTo>
                      <a:pt x="34" y="153"/>
                    </a:lnTo>
                    <a:lnTo>
                      <a:pt x="58" y="153"/>
                    </a:lnTo>
                    <a:lnTo>
                      <a:pt x="58" y="421"/>
                    </a:lnTo>
                    <a:lnTo>
                      <a:pt x="0" y="421"/>
                    </a:lnTo>
                    <a:lnTo>
                      <a:pt x="11" y="468"/>
                    </a:lnTo>
                    <a:lnTo>
                      <a:pt x="34" y="468"/>
                    </a:lnTo>
                    <a:lnTo>
                      <a:pt x="28" y="473"/>
                    </a:lnTo>
                    <a:lnTo>
                      <a:pt x="22" y="479"/>
                    </a:lnTo>
                    <a:lnTo>
                      <a:pt x="15" y="485"/>
                    </a:lnTo>
                    <a:lnTo>
                      <a:pt x="11" y="492"/>
                    </a:lnTo>
                    <a:lnTo>
                      <a:pt x="187" y="492"/>
                    </a:lnTo>
                    <a:lnTo>
                      <a:pt x="184" y="488"/>
                    </a:lnTo>
                    <a:lnTo>
                      <a:pt x="181" y="485"/>
                    </a:lnTo>
                    <a:lnTo>
                      <a:pt x="176" y="479"/>
                    </a:lnTo>
                    <a:lnTo>
                      <a:pt x="168" y="473"/>
                    </a:lnTo>
                    <a:lnTo>
                      <a:pt x="164" y="468"/>
                    </a:lnTo>
                    <a:lnTo>
                      <a:pt x="187" y="468"/>
                    </a:lnTo>
                    <a:lnTo>
                      <a:pt x="198" y="421"/>
                    </a:lnTo>
                    <a:lnTo>
                      <a:pt x="140" y="421"/>
                    </a:lnTo>
                    <a:lnTo>
                      <a:pt x="140" y="153"/>
                    </a:lnTo>
                    <a:lnTo>
                      <a:pt x="140" y="153"/>
                    </a:lnTo>
                    <a:close/>
                  </a:path>
                </a:pathLst>
              </a:custGeom>
              <a:solidFill>
                <a:schemeClr val="bg1"/>
              </a:solidFill>
              <a:ln w="9525">
                <a:noFill/>
                <a:round/>
                <a:headEnd/>
                <a:tailEnd/>
              </a:ln>
              <a:extLst/>
            </p:spPr>
            <p:txBody>
              <a:bodyPr vert="horz" wrap="square" lIns="89619" tIns="44809" rIns="89619" bIns="44809" numCol="1" anchor="t" anchorCtr="0" compatLnSpc="1">
                <a:prstTxWarp prst="textNoShape">
                  <a:avLst/>
                </a:prstTxWarp>
              </a:bodyPr>
              <a:lstStyle/>
              <a:p>
                <a:pPr defTabSz="896118"/>
                <a:endParaRPr lang="en-US" sz="1764" kern="0">
                  <a:solidFill>
                    <a:prstClr val="black"/>
                  </a:solidFill>
                </a:endParaRPr>
              </a:p>
            </p:txBody>
          </p:sp>
        </p:grpSp>
      </p:grpSp>
      <p:sp>
        <p:nvSpPr>
          <p:cNvPr id="106" name="Round Diagonal Corner Rectangle 53"/>
          <p:cNvSpPr/>
          <p:nvPr/>
        </p:nvSpPr>
        <p:spPr bwMode="auto">
          <a:xfrm>
            <a:off x="6894528" y="2159601"/>
            <a:ext cx="1289560" cy="1467851"/>
          </a:xfrm>
          <a:custGeom>
            <a:avLst/>
            <a:gdLst/>
            <a:ahLst/>
            <a:cxnLst/>
            <a:rect l="l" t="t" r="r" b="b"/>
            <a:pathLst>
              <a:path w="1069848" h="1217762">
                <a:moveTo>
                  <a:pt x="859964" y="887952"/>
                </a:moveTo>
                <a:cubicBezTo>
                  <a:pt x="859964" y="887952"/>
                  <a:pt x="859964" y="887952"/>
                  <a:pt x="859964" y="887953"/>
                </a:cubicBezTo>
                <a:lnTo>
                  <a:pt x="859964" y="887953"/>
                </a:lnTo>
                <a:close/>
                <a:moveTo>
                  <a:pt x="823054" y="851043"/>
                </a:moveTo>
                <a:lnTo>
                  <a:pt x="246792" y="851043"/>
                </a:lnTo>
                <a:cubicBezTo>
                  <a:pt x="226407" y="851043"/>
                  <a:pt x="209882" y="867568"/>
                  <a:pt x="209882" y="887953"/>
                </a:cubicBezTo>
                <a:lnTo>
                  <a:pt x="209883" y="887953"/>
                </a:lnTo>
                <a:cubicBezTo>
                  <a:pt x="209883" y="908338"/>
                  <a:pt x="226408" y="924863"/>
                  <a:pt x="246793" y="924863"/>
                </a:cubicBezTo>
                <a:lnTo>
                  <a:pt x="823054" y="924862"/>
                </a:lnTo>
                <a:cubicBezTo>
                  <a:pt x="843439" y="924862"/>
                  <a:pt x="859964" y="908337"/>
                  <a:pt x="859964" y="887953"/>
                </a:cubicBezTo>
                <a:cubicBezTo>
                  <a:pt x="859964" y="867568"/>
                  <a:pt x="843439" y="851043"/>
                  <a:pt x="823054" y="851043"/>
                </a:cubicBezTo>
                <a:close/>
                <a:moveTo>
                  <a:pt x="859964" y="716502"/>
                </a:moveTo>
                <a:lnTo>
                  <a:pt x="859964" y="716503"/>
                </a:lnTo>
                <a:lnTo>
                  <a:pt x="859964" y="716503"/>
                </a:lnTo>
                <a:close/>
                <a:moveTo>
                  <a:pt x="823054" y="679593"/>
                </a:moveTo>
                <a:lnTo>
                  <a:pt x="246792" y="679593"/>
                </a:lnTo>
                <a:cubicBezTo>
                  <a:pt x="226407" y="679593"/>
                  <a:pt x="209882" y="696118"/>
                  <a:pt x="209882" y="716503"/>
                </a:cubicBezTo>
                <a:lnTo>
                  <a:pt x="209883" y="716503"/>
                </a:lnTo>
                <a:cubicBezTo>
                  <a:pt x="209883" y="736888"/>
                  <a:pt x="226408" y="753413"/>
                  <a:pt x="246793" y="753413"/>
                </a:cubicBezTo>
                <a:lnTo>
                  <a:pt x="823054" y="753412"/>
                </a:lnTo>
                <a:cubicBezTo>
                  <a:pt x="843439" y="753412"/>
                  <a:pt x="859964" y="736887"/>
                  <a:pt x="859964" y="716503"/>
                </a:cubicBezTo>
                <a:cubicBezTo>
                  <a:pt x="859964" y="696118"/>
                  <a:pt x="843439" y="679593"/>
                  <a:pt x="823054" y="679593"/>
                </a:cubicBezTo>
                <a:close/>
                <a:moveTo>
                  <a:pt x="859964" y="545051"/>
                </a:moveTo>
                <a:lnTo>
                  <a:pt x="859964" y="545052"/>
                </a:lnTo>
                <a:lnTo>
                  <a:pt x="859964" y="545052"/>
                </a:lnTo>
                <a:close/>
                <a:moveTo>
                  <a:pt x="823054" y="508142"/>
                </a:moveTo>
                <a:lnTo>
                  <a:pt x="246792" y="508142"/>
                </a:lnTo>
                <a:cubicBezTo>
                  <a:pt x="226407" y="508142"/>
                  <a:pt x="209882" y="524667"/>
                  <a:pt x="209882" y="545052"/>
                </a:cubicBezTo>
                <a:lnTo>
                  <a:pt x="209883" y="545052"/>
                </a:lnTo>
                <a:cubicBezTo>
                  <a:pt x="209883" y="565437"/>
                  <a:pt x="226408" y="581962"/>
                  <a:pt x="246793" y="581962"/>
                </a:cubicBezTo>
                <a:lnTo>
                  <a:pt x="823054" y="581961"/>
                </a:lnTo>
                <a:cubicBezTo>
                  <a:pt x="843439" y="581961"/>
                  <a:pt x="859964" y="565436"/>
                  <a:pt x="859964" y="545052"/>
                </a:cubicBezTo>
                <a:cubicBezTo>
                  <a:pt x="859964" y="524667"/>
                  <a:pt x="843439" y="508142"/>
                  <a:pt x="823054" y="508142"/>
                </a:cubicBezTo>
                <a:close/>
                <a:moveTo>
                  <a:pt x="607552" y="375982"/>
                </a:moveTo>
                <a:lnTo>
                  <a:pt x="607552" y="375983"/>
                </a:lnTo>
                <a:lnTo>
                  <a:pt x="607552" y="375983"/>
                </a:lnTo>
                <a:close/>
                <a:moveTo>
                  <a:pt x="570642" y="339073"/>
                </a:moveTo>
                <a:lnTo>
                  <a:pt x="246792" y="339073"/>
                </a:lnTo>
                <a:cubicBezTo>
                  <a:pt x="226407" y="339073"/>
                  <a:pt x="209882" y="355598"/>
                  <a:pt x="209882" y="375983"/>
                </a:cubicBezTo>
                <a:lnTo>
                  <a:pt x="209883" y="375983"/>
                </a:lnTo>
                <a:cubicBezTo>
                  <a:pt x="209883" y="396368"/>
                  <a:pt x="226408" y="412893"/>
                  <a:pt x="246793" y="412893"/>
                </a:cubicBezTo>
                <a:lnTo>
                  <a:pt x="570642" y="412892"/>
                </a:lnTo>
                <a:cubicBezTo>
                  <a:pt x="591027" y="412892"/>
                  <a:pt x="607552" y="396367"/>
                  <a:pt x="607552" y="375983"/>
                </a:cubicBezTo>
                <a:cubicBezTo>
                  <a:pt x="607552" y="355598"/>
                  <a:pt x="591027" y="339073"/>
                  <a:pt x="570642" y="339073"/>
                </a:cubicBezTo>
                <a:close/>
                <a:moveTo>
                  <a:pt x="679213" y="74747"/>
                </a:moveTo>
                <a:lnTo>
                  <a:pt x="679213" y="291168"/>
                </a:lnTo>
                <a:cubicBezTo>
                  <a:pt x="679213" y="325515"/>
                  <a:pt x="707057" y="353359"/>
                  <a:pt x="741404" y="353359"/>
                </a:cubicBezTo>
                <a:lnTo>
                  <a:pt x="992124" y="353359"/>
                </a:lnTo>
                <a:lnTo>
                  <a:pt x="992124" y="1044200"/>
                </a:lnTo>
                <a:cubicBezTo>
                  <a:pt x="992124" y="1097470"/>
                  <a:pt x="971294" y="1150179"/>
                  <a:pt x="897731" y="1140654"/>
                </a:cubicBezTo>
                <a:lnTo>
                  <a:pt x="77724" y="1140654"/>
                </a:lnTo>
                <a:lnTo>
                  <a:pt x="77724" y="173562"/>
                </a:lnTo>
                <a:cubicBezTo>
                  <a:pt x="80105" y="89336"/>
                  <a:pt x="119986" y="77108"/>
                  <a:pt x="172117" y="77108"/>
                </a:cubicBezTo>
                <a:close/>
                <a:moveTo>
                  <a:pt x="733418" y="0"/>
                </a:moveTo>
                <a:lnTo>
                  <a:pt x="110440" y="0"/>
                </a:lnTo>
                <a:cubicBezTo>
                  <a:pt x="49446" y="0"/>
                  <a:pt x="0" y="49446"/>
                  <a:pt x="0" y="110440"/>
                </a:cubicBezTo>
                <a:lnTo>
                  <a:pt x="0" y="1217762"/>
                </a:lnTo>
                <a:lnTo>
                  <a:pt x="959408" y="1217762"/>
                </a:lnTo>
                <a:cubicBezTo>
                  <a:pt x="1020402" y="1217762"/>
                  <a:pt x="1069848" y="1168316"/>
                  <a:pt x="1069848" y="1107322"/>
                </a:cubicBezTo>
                <a:lnTo>
                  <a:pt x="1069848" y="31055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1568" kern="0" spc="-49"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46" name="Group 145"/>
          <p:cNvGrpSpPr/>
          <p:nvPr/>
        </p:nvGrpSpPr>
        <p:grpSpPr>
          <a:xfrm>
            <a:off x="9719156" y="2136878"/>
            <a:ext cx="1329487" cy="1513298"/>
            <a:chOff x="6837733" y="2174627"/>
            <a:chExt cx="1471848" cy="1675342"/>
          </a:xfrm>
          <a:solidFill>
            <a:schemeClr val="bg1"/>
          </a:solidFill>
        </p:grpSpPr>
        <p:sp>
          <p:nvSpPr>
            <p:cNvPr id="147" name="Round Diagonal Corner Rectangle 53"/>
            <p:cNvSpPr/>
            <p:nvPr/>
          </p:nvSpPr>
          <p:spPr bwMode="auto">
            <a:xfrm>
              <a:off x="6837733" y="2174627"/>
              <a:ext cx="1471848" cy="1675342"/>
            </a:xfrm>
            <a:custGeom>
              <a:avLst/>
              <a:gdLst/>
              <a:ahLst/>
              <a:cxnLst/>
              <a:rect l="l" t="t" r="r" b="b"/>
              <a:pathLst>
                <a:path w="1069848" h="1217762">
                  <a:moveTo>
                    <a:pt x="859964" y="887952"/>
                  </a:moveTo>
                  <a:cubicBezTo>
                    <a:pt x="859964" y="887952"/>
                    <a:pt x="859964" y="887952"/>
                    <a:pt x="859964" y="887953"/>
                  </a:cubicBezTo>
                  <a:lnTo>
                    <a:pt x="859964" y="887953"/>
                  </a:lnTo>
                  <a:close/>
                  <a:moveTo>
                    <a:pt x="823054" y="851043"/>
                  </a:moveTo>
                  <a:lnTo>
                    <a:pt x="246792" y="851043"/>
                  </a:lnTo>
                  <a:cubicBezTo>
                    <a:pt x="226407" y="851043"/>
                    <a:pt x="209882" y="867568"/>
                    <a:pt x="209882" y="887953"/>
                  </a:cubicBezTo>
                  <a:lnTo>
                    <a:pt x="209883" y="887953"/>
                  </a:lnTo>
                  <a:cubicBezTo>
                    <a:pt x="209883" y="908338"/>
                    <a:pt x="226408" y="924863"/>
                    <a:pt x="246793" y="924863"/>
                  </a:cubicBezTo>
                  <a:lnTo>
                    <a:pt x="823054" y="924862"/>
                  </a:lnTo>
                  <a:cubicBezTo>
                    <a:pt x="843439" y="924862"/>
                    <a:pt x="859964" y="908337"/>
                    <a:pt x="859964" y="887953"/>
                  </a:cubicBezTo>
                  <a:cubicBezTo>
                    <a:pt x="859964" y="867568"/>
                    <a:pt x="843439" y="851043"/>
                    <a:pt x="823054" y="851043"/>
                  </a:cubicBezTo>
                  <a:close/>
                  <a:moveTo>
                    <a:pt x="859964" y="716502"/>
                  </a:moveTo>
                  <a:lnTo>
                    <a:pt x="859964" y="716503"/>
                  </a:lnTo>
                  <a:lnTo>
                    <a:pt x="859964" y="716503"/>
                  </a:lnTo>
                  <a:close/>
                  <a:moveTo>
                    <a:pt x="823054" y="679593"/>
                  </a:moveTo>
                  <a:lnTo>
                    <a:pt x="246792" y="679593"/>
                  </a:lnTo>
                  <a:cubicBezTo>
                    <a:pt x="226407" y="679593"/>
                    <a:pt x="209882" y="696118"/>
                    <a:pt x="209882" y="716503"/>
                  </a:cubicBezTo>
                  <a:lnTo>
                    <a:pt x="209883" y="716503"/>
                  </a:lnTo>
                  <a:cubicBezTo>
                    <a:pt x="209883" y="736888"/>
                    <a:pt x="226408" y="753413"/>
                    <a:pt x="246793" y="753413"/>
                  </a:cubicBezTo>
                  <a:lnTo>
                    <a:pt x="823054" y="753412"/>
                  </a:lnTo>
                  <a:cubicBezTo>
                    <a:pt x="843439" y="753412"/>
                    <a:pt x="859964" y="736887"/>
                    <a:pt x="859964" y="716503"/>
                  </a:cubicBezTo>
                  <a:cubicBezTo>
                    <a:pt x="859964" y="696118"/>
                    <a:pt x="843439" y="679593"/>
                    <a:pt x="823054" y="679593"/>
                  </a:cubicBezTo>
                  <a:close/>
                  <a:moveTo>
                    <a:pt x="859964" y="545051"/>
                  </a:moveTo>
                  <a:lnTo>
                    <a:pt x="859964" y="545052"/>
                  </a:lnTo>
                  <a:lnTo>
                    <a:pt x="859964" y="545052"/>
                  </a:lnTo>
                  <a:close/>
                  <a:moveTo>
                    <a:pt x="823054" y="508142"/>
                  </a:moveTo>
                  <a:lnTo>
                    <a:pt x="246792" y="508142"/>
                  </a:lnTo>
                  <a:cubicBezTo>
                    <a:pt x="226407" y="508142"/>
                    <a:pt x="209882" y="524667"/>
                    <a:pt x="209882" y="545052"/>
                  </a:cubicBezTo>
                  <a:lnTo>
                    <a:pt x="209883" y="545052"/>
                  </a:lnTo>
                  <a:cubicBezTo>
                    <a:pt x="209883" y="565437"/>
                    <a:pt x="226408" y="581962"/>
                    <a:pt x="246793" y="581962"/>
                  </a:cubicBezTo>
                  <a:lnTo>
                    <a:pt x="823054" y="581961"/>
                  </a:lnTo>
                  <a:cubicBezTo>
                    <a:pt x="843439" y="581961"/>
                    <a:pt x="859964" y="565436"/>
                    <a:pt x="859964" y="545052"/>
                  </a:cubicBezTo>
                  <a:cubicBezTo>
                    <a:pt x="859964" y="524667"/>
                    <a:pt x="843439" y="508142"/>
                    <a:pt x="823054" y="508142"/>
                  </a:cubicBezTo>
                  <a:close/>
                  <a:moveTo>
                    <a:pt x="607552" y="375982"/>
                  </a:moveTo>
                  <a:lnTo>
                    <a:pt x="607552" y="375983"/>
                  </a:lnTo>
                  <a:lnTo>
                    <a:pt x="607552" y="375983"/>
                  </a:lnTo>
                  <a:close/>
                  <a:moveTo>
                    <a:pt x="570642" y="339073"/>
                  </a:moveTo>
                  <a:lnTo>
                    <a:pt x="246792" y="339073"/>
                  </a:lnTo>
                  <a:cubicBezTo>
                    <a:pt x="226407" y="339073"/>
                    <a:pt x="209882" y="355598"/>
                    <a:pt x="209882" y="375983"/>
                  </a:cubicBezTo>
                  <a:lnTo>
                    <a:pt x="209883" y="375983"/>
                  </a:lnTo>
                  <a:cubicBezTo>
                    <a:pt x="209883" y="396368"/>
                    <a:pt x="226408" y="412893"/>
                    <a:pt x="246793" y="412893"/>
                  </a:cubicBezTo>
                  <a:lnTo>
                    <a:pt x="570642" y="412892"/>
                  </a:lnTo>
                  <a:cubicBezTo>
                    <a:pt x="591027" y="412892"/>
                    <a:pt x="607552" y="396367"/>
                    <a:pt x="607552" y="375983"/>
                  </a:cubicBezTo>
                  <a:cubicBezTo>
                    <a:pt x="607552" y="355598"/>
                    <a:pt x="591027" y="339073"/>
                    <a:pt x="570642" y="339073"/>
                  </a:cubicBezTo>
                  <a:close/>
                  <a:moveTo>
                    <a:pt x="679213" y="74747"/>
                  </a:moveTo>
                  <a:lnTo>
                    <a:pt x="679213" y="291168"/>
                  </a:lnTo>
                  <a:cubicBezTo>
                    <a:pt x="679213" y="325515"/>
                    <a:pt x="707057" y="353359"/>
                    <a:pt x="741404" y="353359"/>
                  </a:cubicBezTo>
                  <a:lnTo>
                    <a:pt x="992124" y="353359"/>
                  </a:lnTo>
                  <a:lnTo>
                    <a:pt x="992124" y="1044200"/>
                  </a:lnTo>
                  <a:cubicBezTo>
                    <a:pt x="992124" y="1097470"/>
                    <a:pt x="971294" y="1150179"/>
                    <a:pt x="897731" y="1140654"/>
                  </a:cubicBezTo>
                  <a:lnTo>
                    <a:pt x="77724" y="1140654"/>
                  </a:lnTo>
                  <a:lnTo>
                    <a:pt x="77724" y="173562"/>
                  </a:lnTo>
                  <a:cubicBezTo>
                    <a:pt x="80105" y="89336"/>
                    <a:pt x="119986" y="77108"/>
                    <a:pt x="172117" y="77108"/>
                  </a:cubicBezTo>
                  <a:close/>
                  <a:moveTo>
                    <a:pt x="733418" y="0"/>
                  </a:moveTo>
                  <a:lnTo>
                    <a:pt x="110440" y="0"/>
                  </a:lnTo>
                  <a:cubicBezTo>
                    <a:pt x="49446" y="0"/>
                    <a:pt x="0" y="49446"/>
                    <a:pt x="0" y="110440"/>
                  </a:cubicBezTo>
                  <a:lnTo>
                    <a:pt x="0" y="1217762"/>
                  </a:lnTo>
                  <a:lnTo>
                    <a:pt x="959408" y="1217762"/>
                  </a:lnTo>
                  <a:cubicBezTo>
                    <a:pt x="1020402" y="1217762"/>
                    <a:pt x="1069848" y="1168316"/>
                    <a:pt x="1069848" y="1107322"/>
                  </a:cubicBezTo>
                  <a:lnTo>
                    <a:pt x="1069848" y="31055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1568" kern="0"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148" name="Freeform 147"/>
            <p:cNvSpPr/>
            <p:nvPr/>
          </p:nvSpPr>
          <p:spPr>
            <a:xfrm>
              <a:off x="6994807" y="2866587"/>
              <a:ext cx="133533" cy="112613"/>
            </a:xfrm>
            <a:custGeom>
              <a:avLst/>
              <a:gdLst>
                <a:gd name="connsiteX0" fmla="*/ 7143 w 1271587"/>
                <a:gd name="connsiteY0" fmla="*/ 604837 h 1064418"/>
                <a:gd name="connsiteX1" fmla="*/ 426243 w 1271587"/>
                <a:gd name="connsiteY1" fmla="*/ 1064418 h 1064418"/>
                <a:gd name="connsiteX2" fmla="*/ 528637 w 1271587"/>
                <a:gd name="connsiteY2" fmla="*/ 1054893 h 1064418"/>
                <a:gd name="connsiteX3" fmla="*/ 1254918 w 1271587"/>
                <a:gd name="connsiteY3" fmla="*/ 273843 h 1064418"/>
                <a:gd name="connsiteX4" fmla="*/ 1271587 w 1271587"/>
                <a:gd name="connsiteY4" fmla="*/ 178593 h 1064418"/>
                <a:gd name="connsiteX5" fmla="*/ 1131093 w 1271587"/>
                <a:gd name="connsiteY5" fmla="*/ 0 h 1064418"/>
                <a:gd name="connsiteX6" fmla="*/ 1038225 w 1271587"/>
                <a:gd name="connsiteY6" fmla="*/ 2381 h 1064418"/>
                <a:gd name="connsiteX7" fmla="*/ 457200 w 1271587"/>
                <a:gd name="connsiteY7" fmla="*/ 595312 h 1064418"/>
                <a:gd name="connsiteX8" fmla="*/ 238125 w 1271587"/>
                <a:gd name="connsiteY8" fmla="*/ 373856 h 1064418"/>
                <a:gd name="connsiteX9" fmla="*/ 126206 w 1271587"/>
                <a:gd name="connsiteY9" fmla="*/ 371475 h 1064418"/>
                <a:gd name="connsiteX10" fmla="*/ 0 w 1271587"/>
                <a:gd name="connsiteY10" fmla="*/ 531018 h 1064418"/>
                <a:gd name="connsiteX11" fmla="*/ 7143 w 1271587"/>
                <a:gd name="connsiteY11" fmla="*/ 604837 h 1064418"/>
                <a:gd name="connsiteX0" fmla="*/ 7143 w 1271587"/>
                <a:gd name="connsiteY0" fmla="*/ 604837 h 1067977"/>
                <a:gd name="connsiteX1" fmla="*/ 426243 w 1271587"/>
                <a:gd name="connsiteY1" fmla="*/ 1064418 h 1067977"/>
                <a:gd name="connsiteX2" fmla="*/ 528637 w 1271587"/>
                <a:gd name="connsiteY2" fmla="*/ 1054893 h 1067977"/>
                <a:gd name="connsiteX3" fmla="*/ 1254918 w 1271587"/>
                <a:gd name="connsiteY3" fmla="*/ 273843 h 1067977"/>
                <a:gd name="connsiteX4" fmla="*/ 1271587 w 1271587"/>
                <a:gd name="connsiteY4" fmla="*/ 178593 h 1067977"/>
                <a:gd name="connsiteX5" fmla="*/ 1131093 w 1271587"/>
                <a:gd name="connsiteY5" fmla="*/ 0 h 1067977"/>
                <a:gd name="connsiteX6" fmla="*/ 1038225 w 1271587"/>
                <a:gd name="connsiteY6" fmla="*/ 2381 h 1067977"/>
                <a:gd name="connsiteX7" fmla="*/ 457200 w 1271587"/>
                <a:gd name="connsiteY7" fmla="*/ 595312 h 1067977"/>
                <a:gd name="connsiteX8" fmla="*/ 238125 w 1271587"/>
                <a:gd name="connsiteY8" fmla="*/ 373856 h 1067977"/>
                <a:gd name="connsiteX9" fmla="*/ 126206 w 1271587"/>
                <a:gd name="connsiteY9" fmla="*/ 371475 h 1067977"/>
                <a:gd name="connsiteX10" fmla="*/ 0 w 1271587"/>
                <a:gd name="connsiteY10" fmla="*/ 531018 h 1067977"/>
                <a:gd name="connsiteX11" fmla="*/ 7143 w 1271587"/>
                <a:gd name="connsiteY11" fmla="*/ 604837 h 1067977"/>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5066"/>
                <a:gd name="connsiteY0" fmla="*/ 604837 h 1077089"/>
                <a:gd name="connsiteX1" fmla="*/ 426243 w 1275066"/>
                <a:gd name="connsiteY1" fmla="*/ 1064418 h 1077089"/>
                <a:gd name="connsiteX2" fmla="*/ 528637 w 1275066"/>
                <a:gd name="connsiteY2" fmla="*/ 1054893 h 1077089"/>
                <a:gd name="connsiteX3" fmla="*/ 1254918 w 1275066"/>
                <a:gd name="connsiteY3" fmla="*/ 273843 h 1077089"/>
                <a:gd name="connsiteX4" fmla="*/ 1271587 w 1275066"/>
                <a:gd name="connsiteY4" fmla="*/ 178593 h 1077089"/>
                <a:gd name="connsiteX5" fmla="*/ 1131093 w 1275066"/>
                <a:gd name="connsiteY5" fmla="*/ 0 h 1077089"/>
                <a:gd name="connsiteX6" fmla="*/ 1038225 w 1275066"/>
                <a:gd name="connsiteY6" fmla="*/ 2381 h 1077089"/>
                <a:gd name="connsiteX7" fmla="*/ 457200 w 1275066"/>
                <a:gd name="connsiteY7" fmla="*/ 595312 h 1077089"/>
                <a:gd name="connsiteX8" fmla="*/ 238125 w 1275066"/>
                <a:gd name="connsiteY8" fmla="*/ 373856 h 1077089"/>
                <a:gd name="connsiteX9" fmla="*/ 126206 w 1275066"/>
                <a:gd name="connsiteY9" fmla="*/ 371475 h 1077089"/>
                <a:gd name="connsiteX10" fmla="*/ 0 w 1275066"/>
                <a:gd name="connsiteY10" fmla="*/ 531018 h 1077089"/>
                <a:gd name="connsiteX11" fmla="*/ 7143 w 1275066"/>
                <a:gd name="connsiteY11" fmla="*/ 604837 h 1077089"/>
                <a:gd name="connsiteX0" fmla="*/ 7143 w 1280284"/>
                <a:gd name="connsiteY0" fmla="*/ 604837 h 1077089"/>
                <a:gd name="connsiteX1" fmla="*/ 426243 w 1280284"/>
                <a:gd name="connsiteY1" fmla="*/ 1064418 h 1077089"/>
                <a:gd name="connsiteX2" fmla="*/ 528637 w 1280284"/>
                <a:gd name="connsiteY2" fmla="*/ 1054893 h 1077089"/>
                <a:gd name="connsiteX3" fmla="*/ 1254918 w 1280284"/>
                <a:gd name="connsiteY3" fmla="*/ 273843 h 1077089"/>
                <a:gd name="connsiteX4" fmla="*/ 1271587 w 1280284"/>
                <a:gd name="connsiteY4" fmla="*/ 178593 h 1077089"/>
                <a:gd name="connsiteX5" fmla="*/ 1131093 w 1280284"/>
                <a:gd name="connsiteY5" fmla="*/ 0 h 1077089"/>
                <a:gd name="connsiteX6" fmla="*/ 1038225 w 1280284"/>
                <a:gd name="connsiteY6" fmla="*/ 2381 h 1077089"/>
                <a:gd name="connsiteX7" fmla="*/ 457200 w 1280284"/>
                <a:gd name="connsiteY7" fmla="*/ 595312 h 1077089"/>
                <a:gd name="connsiteX8" fmla="*/ 238125 w 1280284"/>
                <a:gd name="connsiteY8" fmla="*/ 373856 h 1077089"/>
                <a:gd name="connsiteX9" fmla="*/ 126206 w 1280284"/>
                <a:gd name="connsiteY9" fmla="*/ 371475 h 1077089"/>
                <a:gd name="connsiteX10" fmla="*/ 0 w 1280284"/>
                <a:gd name="connsiteY10" fmla="*/ 531018 h 1077089"/>
                <a:gd name="connsiteX11" fmla="*/ 7143 w 1280284"/>
                <a:gd name="connsiteY11" fmla="*/ 604837 h 1077089"/>
                <a:gd name="connsiteX0" fmla="*/ 7143 w 1282209"/>
                <a:gd name="connsiteY0" fmla="*/ 604837 h 1077089"/>
                <a:gd name="connsiteX1" fmla="*/ 426243 w 1282209"/>
                <a:gd name="connsiteY1" fmla="*/ 1064418 h 1077089"/>
                <a:gd name="connsiteX2" fmla="*/ 528637 w 1282209"/>
                <a:gd name="connsiteY2" fmla="*/ 1054893 h 1077089"/>
                <a:gd name="connsiteX3" fmla="*/ 1254918 w 1282209"/>
                <a:gd name="connsiteY3" fmla="*/ 273843 h 1077089"/>
                <a:gd name="connsiteX4" fmla="*/ 1271587 w 1282209"/>
                <a:gd name="connsiteY4" fmla="*/ 178593 h 1077089"/>
                <a:gd name="connsiteX5" fmla="*/ 1131093 w 1282209"/>
                <a:gd name="connsiteY5" fmla="*/ 0 h 1077089"/>
                <a:gd name="connsiteX6" fmla="*/ 1038225 w 1282209"/>
                <a:gd name="connsiteY6" fmla="*/ 2381 h 1077089"/>
                <a:gd name="connsiteX7" fmla="*/ 457200 w 1282209"/>
                <a:gd name="connsiteY7" fmla="*/ 595312 h 1077089"/>
                <a:gd name="connsiteX8" fmla="*/ 238125 w 1282209"/>
                <a:gd name="connsiteY8" fmla="*/ 373856 h 1077089"/>
                <a:gd name="connsiteX9" fmla="*/ 126206 w 1282209"/>
                <a:gd name="connsiteY9" fmla="*/ 371475 h 1077089"/>
                <a:gd name="connsiteX10" fmla="*/ 0 w 1282209"/>
                <a:gd name="connsiteY10" fmla="*/ 531018 h 1077089"/>
                <a:gd name="connsiteX11" fmla="*/ 7143 w 1282209"/>
                <a:gd name="connsiteY11" fmla="*/ 604837 h 1077089"/>
                <a:gd name="connsiteX0" fmla="*/ 7143 w 1282209"/>
                <a:gd name="connsiteY0" fmla="*/ 602456 h 1074708"/>
                <a:gd name="connsiteX1" fmla="*/ 426243 w 1282209"/>
                <a:gd name="connsiteY1" fmla="*/ 1062037 h 1074708"/>
                <a:gd name="connsiteX2" fmla="*/ 528637 w 1282209"/>
                <a:gd name="connsiteY2" fmla="*/ 1052512 h 1074708"/>
                <a:gd name="connsiteX3" fmla="*/ 1254918 w 1282209"/>
                <a:gd name="connsiteY3" fmla="*/ 271462 h 1074708"/>
                <a:gd name="connsiteX4" fmla="*/ 1271587 w 1282209"/>
                <a:gd name="connsiteY4" fmla="*/ 176212 h 1074708"/>
                <a:gd name="connsiteX5" fmla="*/ 1145381 w 1282209"/>
                <a:gd name="connsiteY5" fmla="*/ 4763 h 1074708"/>
                <a:gd name="connsiteX6" fmla="*/ 1038225 w 1282209"/>
                <a:gd name="connsiteY6" fmla="*/ 0 h 1074708"/>
                <a:gd name="connsiteX7" fmla="*/ 457200 w 1282209"/>
                <a:gd name="connsiteY7" fmla="*/ 592931 h 1074708"/>
                <a:gd name="connsiteX8" fmla="*/ 238125 w 1282209"/>
                <a:gd name="connsiteY8" fmla="*/ 371475 h 1074708"/>
                <a:gd name="connsiteX9" fmla="*/ 126206 w 1282209"/>
                <a:gd name="connsiteY9" fmla="*/ 369094 h 1074708"/>
                <a:gd name="connsiteX10" fmla="*/ 0 w 1282209"/>
                <a:gd name="connsiteY10" fmla="*/ 528637 h 1074708"/>
                <a:gd name="connsiteX11" fmla="*/ 7143 w 1282209"/>
                <a:gd name="connsiteY11" fmla="*/ 602456 h 1074708"/>
                <a:gd name="connsiteX0" fmla="*/ 7143 w 1282209"/>
                <a:gd name="connsiteY0" fmla="*/ 613102 h 1085354"/>
                <a:gd name="connsiteX1" fmla="*/ 426243 w 1282209"/>
                <a:gd name="connsiteY1" fmla="*/ 1072683 h 1085354"/>
                <a:gd name="connsiteX2" fmla="*/ 528637 w 1282209"/>
                <a:gd name="connsiteY2" fmla="*/ 1063158 h 1085354"/>
                <a:gd name="connsiteX3" fmla="*/ 1254918 w 1282209"/>
                <a:gd name="connsiteY3" fmla="*/ 282108 h 1085354"/>
                <a:gd name="connsiteX4" fmla="*/ 1271587 w 1282209"/>
                <a:gd name="connsiteY4" fmla="*/ 186858 h 1085354"/>
                <a:gd name="connsiteX5" fmla="*/ 1145381 w 1282209"/>
                <a:gd name="connsiteY5" fmla="*/ 15409 h 1085354"/>
                <a:gd name="connsiteX6" fmla="*/ 1038225 w 1282209"/>
                <a:gd name="connsiteY6" fmla="*/ 10646 h 1085354"/>
                <a:gd name="connsiteX7" fmla="*/ 457200 w 1282209"/>
                <a:gd name="connsiteY7" fmla="*/ 603577 h 1085354"/>
                <a:gd name="connsiteX8" fmla="*/ 238125 w 1282209"/>
                <a:gd name="connsiteY8" fmla="*/ 382121 h 1085354"/>
                <a:gd name="connsiteX9" fmla="*/ 126206 w 1282209"/>
                <a:gd name="connsiteY9" fmla="*/ 379740 h 1085354"/>
                <a:gd name="connsiteX10" fmla="*/ 0 w 1282209"/>
                <a:gd name="connsiteY10" fmla="*/ 539283 h 1085354"/>
                <a:gd name="connsiteX11" fmla="*/ 7143 w 1282209"/>
                <a:gd name="connsiteY11" fmla="*/ 613102 h 1085354"/>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11641 w 1286707"/>
                <a:gd name="connsiteY0" fmla="*/ 618884 h 1091136"/>
                <a:gd name="connsiteX1" fmla="*/ 430741 w 1286707"/>
                <a:gd name="connsiteY1" fmla="*/ 1078465 h 1091136"/>
                <a:gd name="connsiteX2" fmla="*/ 533135 w 1286707"/>
                <a:gd name="connsiteY2" fmla="*/ 1068940 h 1091136"/>
                <a:gd name="connsiteX3" fmla="*/ 1259416 w 1286707"/>
                <a:gd name="connsiteY3" fmla="*/ 287890 h 1091136"/>
                <a:gd name="connsiteX4" fmla="*/ 1276085 w 1286707"/>
                <a:gd name="connsiteY4" fmla="*/ 192640 h 1091136"/>
                <a:gd name="connsiteX5" fmla="*/ 1149879 w 1286707"/>
                <a:gd name="connsiteY5" fmla="*/ 21191 h 1091136"/>
                <a:gd name="connsiteX6" fmla="*/ 1042723 w 1286707"/>
                <a:gd name="connsiteY6" fmla="*/ 16428 h 1091136"/>
                <a:gd name="connsiteX7" fmla="*/ 461698 w 1286707"/>
                <a:gd name="connsiteY7" fmla="*/ 609359 h 1091136"/>
                <a:gd name="connsiteX8" fmla="*/ 242623 w 1286707"/>
                <a:gd name="connsiteY8" fmla="*/ 387903 h 1091136"/>
                <a:gd name="connsiteX9" fmla="*/ 130704 w 1286707"/>
                <a:gd name="connsiteY9" fmla="*/ 385522 h 1091136"/>
                <a:gd name="connsiteX10" fmla="*/ 11641 w 1286707"/>
                <a:gd name="connsiteY10" fmla="*/ 523633 h 1091136"/>
                <a:gd name="connsiteX11" fmla="*/ 11641 w 1286707"/>
                <a:gd name="connsiteY11" fmla="*/ 618884 h 1091136"/>
                <a:gd name="connsiteX0" fmla="*/ 19645 w 1294711"/>
                <a:gd name="connsiteY0" fmla="*/ 618884 h 1091136"/>
                <a:gd name="connsiteX1" fmla="*/ 438745 w 1294711"/>
                <a:gd name="connsiteY1" fmla="*/ 1078465 h 1091136"/>
                <a:gd name="connsiteX2" fmla="*/ 541139 w 1294711"/>
                <a:gd name="connsiteY2" fmla="*/ 1068940 h 1091136"/>
                <a:gd name="connsiteX3" fmla="*/ 1267420 w 1294711"/>
                <a:gd name="connsiteY3" fmla="*/ 287890 h 1091136"/>
                <a:gd name="connsiteX4" fmla="*/ 1284089 w 1294711"/>
                <a:gd name="connsiteY4" fmla="*/ 192640 h 1091136"/>
                <a:gd name="connsiteX5" fmla="*/ 1157883 w 1294711"/>
                <a:gd name="connsiteY5" fmla="*/ 21191 h 1091136"/>
                <a:gd name="connsiteX6" fmla="*/ 1050727 w 1294711"/>
                <a:gd name="connsiteY6" fmla="*/ 16428 h 1091136"/>
                <a:gd name="connsiteX7" fmla="*/ 469702 w 1294711"/>
                <a:gd name="connsiteY7" fmla="*/ 609359 h 1091136"/>
                <a:gd name="connsiteX8" fmla="*/ 250627 w 1294711"/>
                <a:gd name="connsiteY8" fmla="*/ 387903 h 1091136"/>
                <a:gd name="connsiteX9" fmla="*/ 138708 w 1294711"/>
                <a:gd name="connsiteY9" fmla="*/ 385522 h 1091136"/>
                <a:gd name="connsiteX10" fmla="*/ 19645 w 1294711"/>
                <a:gd name="connsiteY10" fmla="*/ 523633 h 1091136"/>
                <a:gd name="connsiteX11" fmla="*/ 19645 w 1294711"/>
                <a:gd name="connsiteY11" fmla="*/ 618884 h 1091136"/>
                <a:gd name="connsiteX0" fmla="*/ 18763 w 1293829"/>
                <a:gd name="connsiteY0" fmla="*/ 618884 h 1091136"/>
                <a:gd name="connsiteX1" fmla="*/ 437863 w 1293829"/>
                <a:gd name="connsiteY1" fmla="*/ 1078465 h 1091136"/>
                <a:gd name="connsiteX2" fmla="*/ 540257 w 1293829"/>
                <a:gd name="connsiteY2" fmla="*/ 1068940 h 1091136"/>
                <a:gd name="connsiteX3" fmla="*/ 1266538 w 1293829"/>
                <a:gd name="connsiteY3" fmla="*/ 287890 h 1091136"/>
                <a:gd name="connsiteX4" fmla="*/ 1283207 w 1293829"/>
                <a:gd name="connsiteY4" fmla="*/ 192640 h 1091136"/>
                <a:gd name="connsiteX5" fmla="*/ 1157001 w 1293829"/>
                <a:gd name="connsiteY5" fmla="*/ 21191 h 1091136"/>
                <a:gd name="connsiteX6" fmla="*/ 1049845 w 1293829"/>
                <a:gd name="connsiteY6" fmla="*/ 16428 h 1091136"/>
                <a:gd name="connsiteX7" fmla="*/ 468820 w 1293829"/>
                <a:gd name="connsiteY7" fmla="*/ 609359 h 1091136"/>
                <a:gd name="connsiteX8" fmla="*/ 249745 w 1293829"/>
                <a:gd name="connsiteY8" fmla="*/ 387903 h 1091136"/>
                <a:gd name="connsiteX9" fmla="*/ 137826 w 1293829"/>
                <a:gd name="connsiteY9" fmla="*/ 385522 h 1091136"/>
                <a:gd name="connsiteX10" fmla="*/ 18763 w 1293829"/>
                <a:gd name="connsiteY10" fmla="*/ 523633 h 1091136"/>
                <a:gd name="connsiteX11" fmla="*/ 18763 w 1293829"/>
                <a:gd name="connsiteY11" fmla="*/ 618884 h 109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3829" h="1091136">
                  <a:moveTo>
                    <a:pt x="18763" y="618884"/>
                  </a:moveTo>
                  <a:lnTo>
                    <a:pt x="437863" y="1078465"/>
                  </a:lnTo>
                  <a:cubicBezTo>
                    <a:pt x="474375" y="1099102"/>
                    <a:pt x="498981" y="1093547"/>
                    <a:pt x="540257" y="1068940"/>
                  </a:cubicBezTo>
                  <a:cubicBezTo>
                    <a:pt x="782351" y="718103"/>
                    <a:pt x="1067307" y="429177"/>
                    <a:pt x="1266538" y="287890"/>
                  </a:cubicBezTo>
                  <a:cubicBezTo>
                    <a:pt x="1303050" y="251378"/>
                    <a:pt x="1296701" y="222009"/>
                    <a:pt x="1283207" y="192640"/>
                  </a:cubicBezTo>
                  <a:lnTo>
                    <a:pt x="1157001" y="21191"/>
                  </a:lnTo>
                  <a:cubicBezTo>
                    <a:pt x="1126045" y="-11354"/>
                    <a:pt x="1095089" y="-1034"/>
                    <a:pt x="1049845" y="16428"/>
                  </a:cubicBezTo>
                  <a:cubicBezTo>
                    <a:pt x="822833" y="161684"/>
                    <a:pt x="626776" y="366471"/>
                    <a:pt x="468820" y="609359"/>
                  </a:cubicBezTo>
                  <a:lnTo>
                    <a:pt x="249745" y="387903"/>
                  </a:lnTo>
                  <a:cubicBezTo>
                    <a:pt x="210058" y="356153"/>
                    <a:pt x="179894" y="360122"/>
                    <a:pt x="137826" y="385522"/>
                  </a:cubicBezTo>
                  <a:cubicBezTo>
                    <a:pt x="98138" y="431559"/>
                    <a:pt x="58451" y="458546"/>
                    <a:pt x="18763" y="523633"/>
                  </a:cubicBezTo>
                  <a:cubicBezTo>
                    <a:pt x="-5049" y="555383"/>
                    <a:pt x="-7430" y="594278"/>
                    <a:pt x="18763" y="61888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prstClr val="white"/>
                </a:solidFill>
              </a:endParaRPr>
            </a:p>
          </p:txBody>
        </p:sp>
        <p:sp>
          <p:nvSpPr>
            <p:cNvPr id="149" name="Frame 148"/>
            <p:cNvSpPr/>
            <p:nvPr/>
          </p:nvSpPr>
          <p:spPr bwMode="auto">
            <a:xfrm>
              <a:off x="6960469" y="2866587"/>
              <a:ext cx="153998" cy="148076"/>
            </a:xfrm>
            <a:prstGeom prst="frame">
              <a:avLst>
                <a:gd name="adj1" fmla="val 1322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rgbClr val="FFFFFF"/>
                </a:solidFill>
                <a:latin typeface="Segoe UI Light"/>
                <a:ea typeface="Segoe UI" pitchFamily="34" charset="0"/>
                <a:cs typeface="Segoe UI" pitchFamily="34" charset="0"/>
              </a:endParaRPr>
            </a:p>
          </p:txBody>
        </p:sp>
        <p:sp>
          <p:nvSpPr>
            <p:cNvPr id="150" name="Freeform 149"/>
            <p:cNvSpPr/>
            <p:nvPr/>
          </p:nvSpPr>
          <p:spPr>
            <a:xfrm>
              <a:off x="6994807" y="3091142"/>
              <a:ext cx="133533" cy="112613"/>
            </a:xfrm>
            <a:custGeom>
              <a:avLst/>
              <a:gdLst>
                <a:gd name="connsiteX0" fmla="*/ 7143 w 1271587"/>
                <a:gd name="connsiteY0" fmla="*/ 604837 h 1064418"/>
                <a:gd name="connsiteX1" fmla="*/ 426243 w 1271587"/>
                <a:gd name="connsiteY1" fmla="*/ 1064418 h 1064418"/>
                <a:gd name="connsiteX2" fmla="*/ 528637 w 1271587"/>
                <a:gd name="connsiteY2" fmla="*/ 1054893 h 1064418"/>
                <a:gd name="connsiteX3" fmla="*/ 1254918 w 1271587"/>
                <a:gd name="connsiteY3" fmla="*/ 273843 h 1064418"/>
                <a:gd name="connsiteX4" fmla="*/ 1271587 w 1271587"/>
                <a:gd name="connsiteY4" fmla="*/ 178593 h 1064418"/>
                <a:gd name="connsiteX5" fmla="*/ 1131093 w 1271587"/>
                <a:gd name="connsiteY5" fmla="*/ 0 h 1064418"/>
                <a:gd name="connsiteX6" fmla="*/ 1038225 w 1271587"/>
                <a:gd name="connsiteY6" fmla="*/ 2381 h 1064418"/>
                <a:gd name="connsiteX7" fmla="*/ 457200 w 1271587"/>
                <a:gd name="connsiteY7" fmla="*/ 595312 h 1064418"/>
                <a:gd name="connsiteX8" fmla="*/ 238125 w 1271587"/>
                <a:gd name="connsiteY8" fmla="*/ 373856 h 1064418"/>
                <a:gd name="connsiteX9" fmla="*/ 126206 w 1271587"/>
                <a:gd name="connsiteY9" fmla="*/ 371475 h 1064418"/>
                <a:gd name="connsiteX10" fmla="*/ 0 w 1271587"/>
                <a:gd name="connsiteY10" fmla="*/ 531018 h 1064418"/>
                <a:gd name="connsiteX11" fmla="*/ 7143 w 1271587"/>
                <a:gd name="connsiteY11" fmla="*/ 604837 h 1064418"/>
                <a:gd name="connsiteX0" fmla="*/ 7143 w 1271587"/>
                <a:gd name="connsiteY0" fmla="*/ 604837 h 1067977"/>
                <a:gd name="connsiteX1" fmla="*/ 426243 w 1271587"/>
                <a:gd name="connsiteY1" fmla="*/ 1064418 h 1067977"/>
                <a:gd name="connsiteX2" fmla="*/ 528637 w 1271587"/>
                <a:gd name="connsiteY2" fmla="*/ 1054893 h 1067977"/>
                <a:gd name="connsiteX3" fmla="*/ 1254918 w 1271587"/>
                <a:gd name="connsiteY3" fmla="*/ 273843 h 1067977"/>
                <a:gd name="connsiteX4" fmla="*/ 1271587 w 1271587"/>
                <a:gd name="connsiteY4" fmla="*/ 178593 h 1067977"/>
                <a:gd name="connsiteX5" fmla="*/ 1131093 w 1271587"/>
                <a:gd name="connsiteY5" fmla="*/ 0 h 1067977"/>
                <a:gd name="connsiteX6" fmla="*/ 1038225 w 1271587"/>
                <a:gd name="connsiteY6" fmla="*/ 2381 h 1067977"/>
                <a:gd name="connsiteX7" fmla="*/ 457200 w 1271587"/>
                <a:gd name="connsiteY7" fmla="*/ 595312 h 1067977"/>
                <a:gd name="connsiteX8" fmla="*/ 238125 w 1271587"/>
                <a:gd name="connsiteY8" fmla="*/ 373856 h 1067977"/>
                <a:gd name="connsiteX9" fmla="*/ 126206 w 1271587"/>
                <a:gd name="connsiteY9" fmla="*/ 371475 h 1067977"/>
                <a:gd name="connsiteX10" fmla="*/ 0 w 1271587"/>
                <a:gd name="connsiteY10" fmla="*/ 531018 h 1067977"/>
                <a:gd name="connsiteX11" fmla="*/ 7143 w 1271587"/>
                <a:gd name="connsiteY11" fmla="*/ 604837 h 1067977"/>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5066"/>
                <a:gd name="connsiteY0" fmla="*/ 604837 h 1077089"/>
                <a:gd name="connsiteX1" fmla="*/ 426243 w 1275066"/>
                <a:gd name="connsiteY1" fmla="*/ 1064418 h 1077089"/>
                <a:gd name="connsiteX2" fmla="*/ 528637 w 1275066"/>
                <a:gd name="connsiteY2" fmla="*/ 1054893 h 1077089"/>
                <a:gd name="connsiteX3" fmla="*/ 1254918 w 1275066"/>
                <a:gd name="connsiteY3" fmla="*/ 273843 h 1077089"/>
                <a:gd name="connsiteX4" fmla="*/ 1271587 w 1275066"/>
                <a:gd name="connsiteY4" fmla="*/ 178593 h 1077089"/>
                <a:gd name="connsiteX5" fmla="*/ 1131093 w 1275066"/>
                <a:gd name="connsiteY5" fmla="*/ 0 h 1077089"/>
                <a:gd name="connsiteX6" fmla="*/ 1038225 w 1275066"/>
                <a:gd name="connsiteY6" fmla="*/ 2381 h 1077089"/>
                <a:gd name="connsiteX7" fmla="*/ 457200 w 1275066"/>
                <a:gd name="connsiteY7" fmla="*/ 595312 h 1077089"/>
                <a:gd name="connsiteX8" fmla="*/ 238125 w 1275066"/>
                <a:gd name="connsiteY8" fmla="*/ 373856 h 1077089"/>
                <a:gd name="connsiteX9" fmla="*/ 126206 w 1275066"/>
                <a:gd name="connsiteY9" fmla="*/ 371475 h 1077089"/>
                <a:gd name="connsiteX10" fmla="*/ 0 w 1275066"/>
                <a:gd name="connsiteY10" fmla="*/ 531018 h 1077089"/>
                <a:gd name="connsiteX11" fmla="*/ 7143 w 1275066"/>
                <a:gd name="connsiteY11" fmla="*/ 604837 h 1077089"/>
                <a:gd name="connsiteX0" fmla="*/ 7143 w 1280284"/>
                <a:gd name="connsiteY0" fmla="*/ 604837 h 1077089"/>
                <a:gd name="connsiteX1" fmla="*/ 426243 w 1280284"/>
                <a:gd name="connsiteY1" fmla="*/ 1064418 h 1077089"/>
                <a:gd name="connsiteX2" fmla="*/ 528637 w 1280284"/>
                <a:gd name="connsiteY2" fmla="*/ 1054893 h 1077089"/>
                <a:gd name="connsiteX3" fmla="*/ 1254918 w 1280284"/>
                <a:gd name="connsiteY3" fmla="*/ 273843 h 1077089"/>
                <a:gd name="connsiteX4" fmla="*/ 1271587 w 1280284"/>
                <a:gd name="connsiteY4" fmla="*/ 178593 h 1077089"/>
                <a:gd name="connsiteX5" fmla="*/ 1131093 w 1280284"/>
                <a:gd name="connsiteY5" fmla="*/ 0 h 1077089"/>
                <a:gd name="connsiteX6" fmla="*/ 1038225 w 1280284"/>
                <a:gd name="connsiteY6" fmla="*/ 2381 h 1077089"/>
                <a:gd name="connsiteX7" fmla="*/ 457200 w 1280284"/>
                <a:gd name="connsiteY7" fmla="*/ 595312 h 1077089"/>
                <a:gd name="connsiteX8" fmla="*/ 238125 w 1280284"/>
                <a:gd name="connsiteY8" fmla="*/ 373856 h 1077089"/>
                <a:gd name="connsiteX9" fmla="*/ 126206 w 1280284"/>
                <a:gd name="connsiteY9" fmla="*/ 371475 h 1077089"/>
                <a:gd name="connsiteX10" fmla="*/ 0 w 1280284"/>
                <a:gd name="connsiteY10" fmla="*/ 531018 h 1077089"/>
                <a:gd name="connsiteX11" fmla="*/ 7143 w 1280284"/>
                <a:gd name="connsiteY11" fmla="*/ 604837 h 1077089"/>
                <a:gd name="connsiteX0" fmla="*/ 7143 w 1282209"/>
                <a:gd name="connsiteY0" fmla="*/ 604837 h 1077089"/>
                <a:gd name="connsiteX1" fmla="*/ 426243 w 1282209"/>
                <a:gd name="connsiteY1" fmla="*/ 1064418 h 1077089"/>
                <a:gd name="connsiteX2" fmla="*/ 528637 w 1282209"/>
                <a:gd name="connsiteY2" fmla="*/ 1054893 h 1077089"/>
                <a:gd name="connsiteX3" fmla="*/ 1254918 w 1282209"/>
                <a:gd name="connsiteY3" fmla="*/ 273843 h 1077089"/>
                <a:gd name="connsiteX4" fmla="*/ 1271587 w 1282209"/>
                <a:gd name="connsiteY4" fmla="*/ 178593 h 1077089"/>
                <a:gd name="connsiteX5" fmla="*/ 1131093 w 1282209"/>
                <a:gd name="connsiteY5" fmla="*/ 0 h 1077089"/>
                <a:gd name="connsiteX6" fmla="*/ 1038225 w 1282209"/>
                <a:gd name="connsiteY6" fmla="*/ 2381 h 1077089"/>
                <a:gd name="connsiteX7" fmla="*/ 457200 w 1282209"/>
                <a:gd name="connsiteY7" fmla="*/ 595312 h 1077089"/>
                <a:gd name="connsiteX8" fmla="*/ 238125 w 1282209"/>
                <a:gd name="connsiteY8" fmla="*/ 373856 h 1077089"/>
                <a:gd name="connsiteX9" fmla="*/ 126206 w 1282209"/>
                <a:gd name="connsiteY9" fmla="*/ 371475 h 1077089"/>
                <a:gd name="connsiteX10" fmla="*/ 0 w 1282209"/>
                <a:gd name="connsiteY10" fmla="*/ 531018 h 1077089"/>
                <a:gd name="connsiteX11" fmla="*/ 7143 w 1282209"/>
                <a:gd name="connsiteY11" fmla="*/ 604837 h 1077089"/>
                <a:gd name="connsiteX0" fmla="*/ 7143 w 1282209"/>
                <a:gd name="connsiteY0" fmla="*/ 602456 h 1074708"/>
                <a:gd name="connsiteX1" fmla="*/ 426243 w 1282209"/>
                <a:gd name="connsiteY1" fmla="*/ 1062037 h 1074708"/>
                <a:gd name="connsiteX2" fmla="*/ 528637 w 1282209"/>
                <a:gd name="connsiteY2" fmla="*/ 1052512 h 1074708"/>
                <a:gd name="connsiteX3" fmla="*/ 1254918 w 1282209"/>
                <a:gd name="connsiteY3" fmla="*/ 271462 h 1074708"/>
                <a:gd name="connsiteX4" fmla="*/ 1271587 w 1282209"/>
                <a:gd name="connsiteY4" fmla="*/ 176212 h 1074708"/>
                <a:gd name="connsiteX5" fmla="*/ 1145381 w 1282209"/>
                <a:gd name="connsiteY5" fmla="*/ 4763 h 1074708"/>
                <a:gd name="connsiteX6" fmla="*/ 1038225 w 1282209"/>
                <a:gd name="connsiteY6" fmla="*/ 0 h 1074708"/>
                <a:gd name="connsiteX7" fmla="*/ 457200 w 1282209"/>
                <a:gd name="connsiteY7" fmla="*/ 592931 h 1074708"/>
                <a:gd name="connsiteX8" fmla="*/ 238125 w 1282209"/>
                <a:gd name="connsiteY8" fmla="*/ 371475 h 1074708"/>
                <a:gd name="connsiteX9" fmla="*/ 126206 w 1282209"/>
                <a:gd name="connsiteY9" fmla="*/ 369094 h 1074708"/>
                <a:gd name="connsiteX10" fmla="*/ 0 w 1282209"/>
                <a:gd name="connsiteY10" fmla="*/ 528637 h 1074708"/>
                <a:gd name="connsiteX11" fmla="*/ 7143 w 1282209"/>
                <a:gd name="connsiteY11" fmla="*/ 602456 h 1074708"/>
                <a:gd name="connsiteX0" fmla="*/ 7143 w 1282209"/>
                <a:gd name="connsiteY0" fmla="*/ 613102 h 1085354"/>
                <a:gd name="connsiteX1" fmla="*/ 426243 w 1282209"/>
                <a:gd name="connsiteY1" fmla="*/ 1072683 h 1085354"/>
                <a:gd name="connsiteX2" fmla="*/ 528637 w 1282209"/>
                <a:gd name="connsiteY2" fmla="*/ 1063158 h 1085354"/>
                <a:gd name="connsiteX3" fmla="*/ 1254918 w 1282209"/>
                <a:gd name="connsiteY3" fmla="*/ 282108 h 1085354"/>
                <a:gd name="connsiteX4" fmla="*/ 1271587 w 1282209"/>
                <a:gd name="connsiteY4" fmla="*/ 186858 h 1085354"/>
                <a:gd name="connsiteX5" fmla="*/ 1145381 w 1282209"/>
                <a:gd name="connsiteY5" fmla="*/ 15409 h 1085354"/>
                <a:gd name="connsiteX6" fmla="*/ 1038225 w 1282209"/>
                <a:gd name="connsiteY6" fmla="*/ 10646 h 1085354"/>
                <a:gd name="connsiteX7" fmla="*/ 457200 w 1282209"/>
                <a:gd name="connsiteY7" fmla="*/ 603577 h 1085354"/>
                <a:gd name="connsiteX8" fmla="*/ 238125 w 1282209"/>
                <a:gd name="connsiteY8" fmla="*/ 382121 h 1085354"/>
                <a:gd name="connsiteX9" fmla="*/ 126206 w 1282209"/>
                <a:gd name="connsiteY9" fmla="*/ 379740 h 1085354"/>
                <a:gd name="connsiteX10" fmla="*/ 0 w 1282209"/>
                <a:gd name="connsiteY10" fmla="*/ 539283 h 1085354"/>
                <a:gd name="connsiteX11" fmla="*/ 7143 w 1282209"/>
                <a:gd name="connsiteY11" fmla="*/ 613102 h 1085354"/>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11641 w 1286707"/>
                <a:gd name="connsiteY0" fmla="*/ 618884 h 1091136"/>
                <a:gd name="connsiteX1" fmla="*/ 430741 w 1286707"/>
                <a:gd name="connsiteY1" fmla="*/ 1078465 h 1091136"/>
                <a:gd name="connsiteX2" fmla="*/ 533135 w 1286707"/>
                <a:gd name="connsiteY2" fmla="*/ 1068940 h 1091136"/>
                <a:gd name="connsiteX3" fmla="*/ 1259416 w 1286707"/>
                <a:gd name="connsiteY3" fmla="*/ 287890 h 1091136"/>
                <a:gd name="connsiteX4" fmla="*/ 1276085 w 1286707"/>
                <a:gd name="connsiteY4" fmla="*/ 192640 h 1091136"/>
                <a:gd name="connsiteX5" fmla="*/ 1149879 w 1286707"/>
                <a:gd name="connsiteY5" fmla="*/ 21191 h 1091136"/>
                <a:gd name="connsiteX6" fmla="*/ 1042723 w 1286707"/>
                <a:gd name="connsiteY6" fmla="*/ 16428 h 1091136"/>
                <a:gd name="connsiteX7" fmla="*/ 461698 w 1286707"/>
                <a:gd name="connsiteY7" fmla="*/ 609359 h 1091136"/>
                <a:gd name="connsiteX8" fmla="*/ 242623 w 1286707"/>
                <a:gd name="connsiteY8" fmla="*/ 387903 h 1091136"/>
                <a:gd name="connsiteX9" fmla="*/ 130704 w 1286707"/>
                <a:gd name="connsiteY9" fmla="*/ 385522 h 1091136"/>
                <a:gd name="connsiteX10" fmla="*/ 11641 w 1286707"/>
                <a:gd name="connsiteY10" fmla="*/ 523633 h 1091136"/>
                <a:gd name="connsiteX11" fmla="*/ 11641 w 1286707"/>
                <a:gd name="connsiteY11" fmla="*/ 618884 h 1091136"/>
                <a:gd name="connsiteX0" fmla="*/ 19645 w 1294711"/>
                <a:gd name="connsiteY0" fmla="*/ 618884 h 1091136"/>
                <a:gd name="connsiteX1" fmla="*/ 438745 w 1294711"/>
                <a:gd name="connsiteY1" fmla="*/ 1078465 h 1091136"/>
                <a:gd name="connsiteX2" fmla="*/ 541139 w 1294711"/>
                <a:gd name="connsiteY2" fmla="*/ 1068940 h 1091136"/>
                <a:gd name="connsiteX3" fmla="*/ 1267420 w 1294711"/>
                <a:gd name="connsiteY3" fmla="*/ 287890 h 1091136"/>
                <a:gd name="connsiteX4" fmla="*/ 1284089 w 1294711"/>
                <a:gd name="connsiteY4" fmla="*/ 192640 h 1091136"/>
                <a:gd name="connsiteX5" fmla="*/ 1157883 w 1294711"/>
                <a:gd name="connsiteY5" fmla="*/ 21191 h 1091136"/>
                <a:gd name="connsiteX6" fmla="*/ 1050727 w 1294711"/>
                <a:gd name="connsiteY6" fmla="*/ 16428 h 1091136"/>
                <a:gd name="connsiteX7" fmla="*/ 469702 w 1294711"/>
                <a:gd name="connsiteY7" fmla="*/ 609359 h 1091136"/>
                <a:gd name="connsiteX8" fmla="*/ 250627 w 1294711"/>
                <a:gd name="connsiteY8" fmla="*/ 387903 h 1091136"/>
                <a:gd name="connsiteX9" fmla="*/ 138708 w 1294711"/>
                <a:gd name="connsiteY9" fmla="*/ 385522 h 1091136"/>
                <a:gd name="connsiteX10" fmla="*/ 19645 w 1294711"/>
                <a:gd name="connsiteY10" fmla="*/ 523633 h 1091136"/>
                <a:gd name="connsiteX11" fmla="*/ 19645 w 1294711"/>
                <a:gd name="connsiteY11" fmla="*/ 618884 h 1091136"/>
                <a:gd name="connsiteX0" fmla="*/ 18763 w 1293829"/>
                <a:gd name="connsiteY0" fmla="*/ 618884 h 1091136"/>
                <a:gd name="connsiteX1" fmla="*/ 437863 w 1293829"/>
                <a:gd name="connsiteY1" fmla="*/ 1078465 h 1091136"/>
                <a:gd name="connsiteX2" fmla="*/ 540257 w 1293829"/>
                <a:gd name="connsiteY2" fmla="*/ 1068940 h 1091136"/>
                <a:gd name="connsiteX3" fmla="*/ 1266538 w 1293829"/>
                <a:gd name="connsiteY3" fmla="*/ 287890 h 1091136"/>
                <a:gd name="connsiteX4" fmla="*/ 1283207 w 1293829"/>
                <a:gd name="connsiteY4" fmla="*/ 192640 h 1091136"/>
                <a:gd name="connsiteX5" fmla="*/ 1157001 w 1293829"/>
                <a:gd name="connsiteY5" fmla="*/ 21191 h 1091136"/>
                <a:gd name="connsiteX6" fmla="*/ 1049845 w 1293829"/>
                <a:gd name="connsiteY6" fmla="*/ 16428 h 1091136"/>
                <a:gd name="connsiteX7" fmla="*/ 468820 w 1293829"/>
                <a:gd name="connsiteY7" fmla="*/ 609359 h 1091136"/>
                <a:gd name="connsiteX8" fmla="*/ 249745 w 1293829"/>
                <a:gd name="connsiteY8" fmla="*/ 387903 h 1091136"/>
                <a:gd name="connsiteX9" fmla="*/ 137826 w 1293829"/>
                <a:gd name="connsiteY9" fmla="*/ 385522 h 1091136"/>
                <a:gd name="connsiteX10" fmla="*/ 18763 w 1293829"/>
                <a:gd name="connsiteY10" fmla="*/ 523633 h 1091136"/>
                <a:gd name="connsiteX11" fmla="*/ 18763 w 1293829"/>
                <a:gd name="connsiteY11" fmla="*/ 618884 h 109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3829" h="1091136">
                  <a:moveTo>
                    <a:pt x="18763" y="618884"/>
                  </a:moveTo>
                  <a:lnTo>
                    <a:pt x="437863" y="1078465"/>
                  </a:lnTo>
                  <a:cubicBezTo>
                    <a:pt x="474375" y="1099102"/>
                    <a:pt x="498981" y="1093547"/>
                    <a:pt x="540257" y="1068940"/>
                  </a:cubicBezTo>
                  <a:cubicBezTo>
                    <a:pt x="782351" y="718103"/>
                    <a:pt x="1067307" y="429177"/>
                    <a:pt x="1266538" y="287890"/>
                  </a:cubicBezTo>
                  <a:cubicBezTo>
                    <a:pt x="1303050" y="251378"/>
                    <a:pt x="1296701" y="222009"/>
                    <a:pt x="1283207" y="192640"/>
                  </a:cubicBezTo>
                  <a:lnTo>
                    <a:pt x="1157001" y="21191"/>
                  </a:lnTo>
                  <a:cubicBezTo>
                    <a:pt x="1126045" y="-11354"/>
                    <a:pt x="1095089" y="-1034"/>
                    <a:pt x="1049845" y="16428"/>
                  </a:cubicBezTo>
                  <a:cubicBezTo>
                    <a:pt x="822833" y="161684"/>
                    <a:pt x="626776" y="366471"/>
                    <a:pt x="468820" y="609359"/>
                  </a:cubicBezTo>
                  <a:lnTo>
                    <a:pt x="249745" y="387903"/>
                  </a:lnTo>
                  <a:cubicBezTo>
                    <a:pt x="210058" y="356153"/>
                    <a:pt x="179894" y="360122"/>
                    <a:pt x="137826" y="385522"/>
                  </a:cubicBezTo>
                  <a:cubicBezTo>
                    <a:pt x="98138" y="431559"/>
                    <a:pt x="58451" y="458546"/>
                    <a:pt x="18763" y="523633"/>
                  </a:cubicBezTo>
                  <a:cubicBezTo>
                    <a:pt x="-5049" y="555383"/>
                    <a:pt x="-7430" y="594278"/>
                    <a:pt x="18763" y="61888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prstClr val="white"/>
                </a:solidFill>
              </a:endParaRPr>
            </a:p>
          </p:txBody>
        </p:sp>
        <p:sp>
          <p:nvSpPr>
            <p:cNvPr id="151" name="Frame 150"/>
            <p:cNvSpPr/>
            <p:nvPr/>
          </p:nvSpPr>
          <p:spPr bwMode="auto">
            <a:xfrm>
              <a:off x="6960469" y="3091142"/>
              <a:ext cx="153998" cy="148076"/>
            </a:xfrm>
            <a:prstGeom prst="frame">
              <a:avLst>
                <a:gd name="adj1" fmla="val 1322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rgbClr val="FFFFFF"/>
                </a:solidFill>
                <a:latin typeface="Segoe UI Light"/>
                <a:ea typeface="Segoe UI" pitchFamily="34" charset="0"/>
                <a:cs typeface="Segoe UI" pitchFamily="34" charset="0"/>
              </a:endParaRPr>
            </a:p>
          </p:txBody>
        </p:sp>
        <p:sp>
          <p:nvSpPr>
            <p:cNvPr id="152" name="Freeform 151"/>
            <p:cNvSpPr/>
            <p:nvPr/>
          </p:nvSpPr>
          <p:spPr>
            <a:xfrm>
              <a:off x="6994807" y="3319987"/>
              <a:ext cx="133533" cy="112613"/>
            </a:xfrm>
            <a:custGeom>
              <a:avLst/>
              <a:gdLst>
                <a:gd name="connsiteX0" fmla="*/ 7143 w 1271587"/>
                <a:gd name="connsiteY0" fmla="*/ 604837 h 1064418"/>
                <a:gd name="connsiteX1" fmla="*/ 426243 w 1271587"/>
                <a:gd name="connsiteY1" fmla="*/ 1064418 h 1064418"/>
                <a:gd name="connsiteX2" fmla="*/ 528637 w 1271587"/>
                <a:gd name="connsiteY2" fmla="*/ 1054893 h 1064418"/>
                <a:gd name="connsiteX3" fmla="*/ 1254918 w 1271587"/>
                <a:gd name="connsiteY3" fmla="*/ 273843 h 1064418"/>
                <a:gd name="connsiteX4" fmla="*/ 1271587 w 1271587"/>
                <a:gd name="connsiteY4" fmla="*/ 178593 h 1064418"/>
                <a:gd name="connsiteX5" fmla="*/ 1131093 w 1271587"/>
                <a:gd name="connsiteY5" fmla="*/ 0 h 1064418"/>
                <a:gd name="connsiteX6" fmla="*/ 1038225 w 1271587"/>
                <a:gd name="connsiteY6" fmla="*/ 2381 h 1064418"/>
                <a:gd name="connsiteX7" fmla="*/ 457200 w 1271587"/>
                <a:gd name="connsiteY7" fmla="*/ 595312 h 1064418"/>
                <a:gd name="connsiteX8" fmla="*/ 238125 w 1271587"/>
                <a:gd name="connsiteY8" fmla="*/ 373856 h 1064418"/>
                <a:gd name="connsiteX9" fmla="*/ 126206 w 1271587"/>
                <a:gd name="connsiteY9" fmla="*/ 371475 h 1064418"/>
                <a:gd name="connsiteX10" fmla="*/ 0 w 1271587"/>
                <a:gd name="connsiteY10" fmla="*/ 531018 h 1064418"/>
                <a:gd name="connsiteX11" fmla="*/ 7143 w 1271587"/>
                <a:gd name="connsiteY11" fmla="*/ 604837 h 1064418"/>
                <a:gd name="connsiteX0" fmla="*/ 7143 w 1271587"/>
                <a:gd name="connsiteY0" fmla="*/ 604837 h 1067977"/>
                <a:gd name="connsiteX1" fmla="*/ 426243 w 1271587"/>
                <a:gd name="connsiteY1" fmla="*/ 1064418 h 1067977"/>
                <a:gd name="connsiteX2" fmla="*/ 528637 w 1271587"/>
                <a:gd name="connsiteY2" fmla="*/ 1054893 h 1067977"/>
                <a:gd name="connsiteX3" fmla="*/ 1254918 w 1271587"/>
                <a:gd name="connsiteY3" fmla="*/ 273843 h 1067977"/>
                <a:gd name="connsiteX4" fmla="*/ 1271587 w 1271587"/>
                <a:gd name="connsiteY4" fmla="*/ 178593 h 1067977"/>
                <a:gd name="connsiteX5" fmla="*/ 1131093 w 1271587"/>
                <a:gd name="connsiteY5" fmla="*/ 0 h 1067977"/>
                <a:gd name="connsiteX6" fmla="*/ 1038225 w 1271587"/>
                <a:gd name="connsiteY6" fmla="*/ 2381 h 1067977"/>
                <a:gd name="connsiteX7" fmla="*/ 457200 w 1271587"/>
                <a:gd name="connsiteY7" fmla="*/ 595312 h 1067977"/>
                <a:gd name="connsiteX8" fmla="*/ 238125 w 1271587"/>
                <a:gd name="connsiteY8" fmla="*/ 373856 h 1067977"/>
                <a:gd name="connsiteX9" fmla="*/ 126206 w 1271587"/>
                <a:gd name="connsiteY9" fmla="*/ 371475 h 1067977"/>
                <a:gd name="connsiteX10" fmla="*/ 0 w 1271587"/>
                <a:gd name="connsiteY10" fmla="*/ 531018 h 1067977"/>
                <a:gd name="connsiteX11" fmla="*/ 7143 w 1271587"/>
                <a:gd name="connsiteY11" fmla="*/ 604837 h 1067977"/>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1587"/>
                <a:gd name="connsiteY0" fmla="*/ 604837 h 1077089"/>
                <a:gd name="connsiteX1" fmla="*/ 426243 w 1271587"/>
                <a:gd name="connsiteY1" fmla="*/ 1064418 h 1077089"/>
                <a:gd name="connsiteX2" fmla="*/ 528637 w 1271587"/>
                <a:gd name="connsiteY2" fmla="*/ 1054893 h 1077089"/>
                <a:gd name="connsiteX3" fmla="*/ 1254918 w 1271587"/>
                <a:gd name="connsiteY3" fmla="*/ 273843 h 1077089"/>
                <a:gd name="connsiteX4" fmla="*/ 1271587 w 1271587"/>
                <a:gd name="connsiteY4" fmla="*/ 178593 h 1077089"/>
                <a:gd name="connsiteX5" fmla="*/ 1131093 w 1271587"/>
                <a:gd name="connsiteY5" fmla="*/ 0 h 1077089"/>
                <a:gd name="connsiteX6" fmla="*/ 1038225 w 1271587"/>
                <a:gd name="connsiteY6" fmla="*/ 2381 h 1077089"/>
                <a:gd name="connsiteX7" fmla="*/ 457200 w 1271587"/>
                <a:gd name="connsiteY7" fmla="*/ 595312 h 1077089"/>
                <a:gd name="connsiteX8" fmla="*/ 238125 w 1271587"/>
                <a:gd name="connsiteY8" fmla="*/ 373856 h 1077089"/>
                <a:gd name="connsiteX9" fmla="*/ 126206 w 1271587"/>
                <a:gd name="connsiteY9" fmla="*/ 371475 h 1077089"/>
                <a:gd name="connsiteX10" fmla="*/ 0 w 1271587"/>
                <a:gd name="connsiteY10" fmla="*/ 531018 h 1077089"/>
                <a:gd name="connsiteX11" fmla="*/ 7143 w 1271587"/>
                <a:gd name="connsiteY11" fmla="*/ 604837 h 1077089"/>
                <a:gd name="connsiteX0" fmla="*/ 7143 w 1275066"/>
                <a:gd name="connsiteY0" fmla="*/ 604837 h 1077089"/>
                <a:gd name="connsiteX1" fmla="*/ 426243 w 1275066"/>
                <a:gd name="connsiteY1" fmla="*/ 1064418 h 1077089"/>
                <a:gd name="connsiteX2" fmla="*/ 528637 w 1275066"/>
                <a:gd name="connsiteY2" fmla="*/ 1054893 h 1077089"/>
                <a:gd name="connsiteX3" fmla="*/ 1254918 w 1275066"/>
                <a:gd name="connsiteY3" fmla="*/ 273843 h 1077089"/>
                <a:gd name="connsiteX4" fmla="*/ 1271587 w 1275066"/>
                <a:gd name="connsiteY4" fmla="*/ 178593 h 1077089"/>
                <a:gd name="connsiteX5" fmla="*/ 1131093 w 1275066"/>
                <a:gd name="connsiteY5" fmla="*/ 0 h 1077089"/>
                <a:gd name="connsiteX6" fmla="*/ 1038225 w 1275066"/>
                <a:gd name="connsiteY6" fmla="*/ 2381 h 1077089"/>
                <a:gd name="connsiteX7" fmla="*/ 457200 w 1275066"/>
                <a:gd name="connsiteY7" fmla="*/ 595312 h 1077089"/>
                <a:gd name="connsiteX8" fmla="*/ 238125 w 1275066"/>
                <a:gd name="connsiteY8" fmla="*/ 373856 h 1077089"/>
                <a:gd name="connsiteX9" fmla="*/ 126206 w 1275066"/>
                <a:gd name="connsiteY9" fmla="*/ 371475 h 1077089"/>
                <a:gd name="connsiteX10" fmla="*/ 0 w 1275066"/>
                <a:gd name="connsiteY10" fmla="*/ 531018 h 1077089"/>
                <a:gd name="connsiteX11" fmla="*/ 7143 w 1275066"/>
                <a:gd name="connsiteY11" fmla="*/ 604837 h 1077089"/>
                <a:gd name="connsiteX0" fmla="*/ 7143 w 1280284"/>
                <a:gd name="connsiteY0" fmla="*/ 604837 h 1077089"/>
                <a:gd name="connsiteX1" fmla="*/ 426243 w 1280284"/>
                <a:gd name="connsiteY1" fmla="*/ 1064418 h 1077089"/>
                <a:gd name="connsiteX2" fmla="*/ 528637 w 1280284"/>
                <a:gd name="connsiteY2" fmla="*/ 1054893 h 1077089"/>
                <a:gd name="connsiteX3" fmla="*/ 1254918 w 1280284"/>
                <a:gd name="connsiteY3" fmla="*/ 273843 h 1077089"/>
                <a:gd name="connsiteX4" fmla="*/ 1271587 w 1280284"/>
                <a:gd name="connsiteY4" fmla="*/ 178593 h 1077089"/>
                <a:gd name="connsiteX5" fmla="*/ 1131093 w 1280284"/>
                <a:gd name="connsiteY5" fmla="*/ 0 h 1077089"/>
                <a:gd name="connsiteX6" fmla="*/ 1038225 w 1280284"/>
                <a:gd name="connsiteY6" fmla="*/ 2381 h 1077089"/>
                <a:gd name="connsiteX7" fmla="*/ 457200 w 1280284"/>
                <a:gd name="connsiteY7" fmla="*/ 595312 h 1077089"/>
                <a:gd name="connsiteX8" fmla="*/ 238125 w 1280284"/>
                <a:gd name="connsiteY8" fmla="*/ 373856 h 1077089"/>
                <a:gd name="connsiteX9" fmla="*/ 126206 w 1280284"/>
                <a:gd name="connsiteY9" fmla="*/ 371475 h 1077089"/>
                <a:gd name="connsiteX10" fmla="*/ 0 w 1280284"/>
                <a:gd name="connsiteY10" fmla="*/ 531018 h 1077089"/>
                <a:gd name="connsiteX11" fmla="*/ 7143 w 1280284"/>
                <a:gd name="connsiteY11" fmla="*/ 604837 h 1077089"/>
                <a:gd name="connsiteX0" fmla="*/ 7143 w 1282209"/>
                <a:gd name="connsiteY0" fmla="*/ 604837 h 1077089"/>
                <a:gd name="connsiteX1" fmla="*/ 426243 w 1282209"/>
                <a:gd name="connsiteY1" fmla="*/ 1064418 h 1077089"/>
                <a:gd name="connsiteX2" fmla="*/ 528637 w 1282209"/>
                <a:gd name="connsiteY2" fmla="*/ 1054893 h 1077089"/>
                <a:gd name="connsiteX3" fmla="*/ 1254918 w 1282209"/>
                <a:gd name="connsiteY3" fmla="*/ 273843 h 1077089"/>
                <a:gd name="connsiteX4" fmla="*/ 1271587 w 1282209"/>
                <a:gd name="connsiteY4" fmla="*/ 178593 h 1077089"/>
                <a:gd name="connsiteX5" fmla="*/ 1131093 w 1282209"/>
                <a:gd name="connsiteY5" fmla="*/ 0 h 1077089"/>
                <a:gd name="connsiteX6" fmla="*/ 1038225 w 1282209"/>
                <a:gd name="connsiteY6" fmla="*/ 2381 h 1077089"/>
                <a:gd name="connsiteX7" fmla="*/ 457200 w 1282209"/>
                <a:gd name="connsiteY7" fmla="*/ 595312 h 1077089"/>
                <a:gd name="connsiteX8" fmla="*/ 238125 w 1282209"/>
                <a:gd name="connsiteY8" fmla="*/ 373856 h 1077089"/>
                <a:gd name="connsiteX9" fmla="*/ 126206 w 1282209"/>
                <a:gd name="connsiteY9" fmla="*/ 371475 h 1077089"/>
                <a:gd name="connsiteX10" fmla="*/ 0 w 1282209"/>
                <a:gd name="connsiteY10" fmla="*/ 531018 h 1077089"/>
                <a:gd name="connsiteX11" fmla="*/ 7143 w 1282209"/>
                <a:gd name="connsiteY11" fmla="*/ 604837 h 1077089"/>
                <a:gd name="connsiteX0" fmla="*/ 7143 w 1282209"/>
                <a:gd name="connsiteY0" fmla="*/ 602456 h 1074708"/>
                <a:gd name="connsiteX1" fmla="*/ 426243 w 1282209"/>
                <a:gd name="connsiteY1" fmla="*/ 1062037 h 1074708"/>
                <a:gd name="connsiteX2" fmla="*/ 528637 w 1282209"/>
                <a:gd name="connsiteY2" fmla="*/ 1052512 h 1074708"/>
                <a:gd name="connsiteX3" fmla="*/ 1254918 w 1282209"/>
                <a:gd name="connsiteY3" fmla="*/ 271462 h 1074708"/>
                <a:gd name="connsiteX4" fmla="*/ 1271587 w 1282209"/>
                <a:gd name="connsiteY4" fmla="*/ 176212 h 1074708"/>
                <a:gd name="connsiteX5" fmla="*/ 1145381 w 1282209"/>
                <a:gd name="connsiteY5" fmla="*/ 4763 h 1074708"/>
                <a:gd name="connsiteX6" fmla="*/ 1038225 w 1282209"/>
                <a:gd name="connsiteY6" fmla="*/ 0 h 1074708"/>
                <a:gd name="connsiteX7" fmla="*/ 457200 w 1282209"/>
                <a:gd name="connsiteY7" fmla="*/ 592931 h 1074708"/>
                <a:gd name="connsiteX8" fmla="*/ 238125 w 1282209"/>
                <a:gd name="connsiteY8" fmla="*/ 371475 h 1074708"/>
                <a:gd name="connsiteX9" fmla="*/ 126206 w 1282209"/>
                <a:gd name="connsiteY9" fmla="*/ 369094 h 1074708"/>
                <a:gd name="connsiteX10" fmla="*/ 0 w 1282209"/>
                <a:gd name="connsiteY10" fmla="*/ 528637 h 1074708"/>
                <a:gd name="connsiteX11" fmla="*/ 7143 w 1282209"/>
                <a:gd name="connsiteY11" fmla="*/ 602456 h 1074708"/>
                <a:gd name="connsiteX0" fmla="*/ 7143 w 1282209"/>
                <a:gd name="connsiteY0" fmla="*/ 613102 h 1085354"/>
                <a:gd name="connsiteX1" fmla="*/ 426243 w 1282209"/>
                <a:gd name="connsiteY1" fmla="*/ 1072683 h 1085354"/>
                <a:gd name="connsiteX2" fmla="*/ 528637 w 1282209"/>
                <a:gd name="connsiteY2" fmla="*/ 1063158 h 1085354"/>
                <a:gd name="connsiteX3" fmla="*/ 1254918 w 1282209"/>
                <a:gd name="connsiteY3" fmla="*/ 282108 h 1085354"/>
                <a:gd name="connsiteX4" fmla="*/ 1271587 w 1282209"/>
                <a:gd name="connsiteY4" fmla="*/ 186858 h 1085354"/>
                <a:gd name="connsiteX5" fmla="*/ 1145381 w 1282209"/>
                <a:gd name="connsiteY5" fmla="*/ 15409 h 1085354"/>
                <a:gd name="connsiteX6" fmla="*/ 1038225 w 1282209"/>
                <a:gd name="connsiteY6" fmla="*/ 10646 h 1085354"/>
                <a:gd name="connsiteX7" fmla="*/ 457200 w 1282209"/>
                <a:gd name="connsiteY7" fmla="*/ 603577 h 1085354"/>
                <a:gd name="connsiteX8" fmla="*/ 238125 w 1282209"/>
                <a:gd name="connsiteY8" fmla="*/ 382121 h 1085354"/>
                <a:gd name="connsiteX9" fmla="*/ 126206 w 1282209"/>
                <a:gd name="connsiteY9" fmla="*/ 379740 h 1085354"/>
                <a:gd name="connsiteX10" fmla="*/ 0 w 1282209"/>
                <a:gd name="connsiteY10" fmla="*/ 539283 h 1085354"/>
                <a:gd name="connsiteX11" fmla="*/ 7143 w 1282209"/>
                <a:gd name="connsiteY11" fmla="*/ 613102 h 1085354"/>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7143 w 1282209"/>
                <a:gd name="connsiteY0" fmla="*/ 618884 h 1091136"/>
                <a:gd name="connsiteX1" fmla="*/ 426243 w 1282209"/>
                <a:gd name="connsiteY1" fmla="*/ 1078465 h 1091136"/>
                <a:gd name="connsiteX2" fmla="*/ 528637 w 1282209"/>
                <a:gd name="connsiteY2" fmla="*/ 1068940 h 1091136"/>
                <a:gd name="connsiteX3" fmla="*/ 1254918 w 1282209"/>
                <a:gd name="connsiteY3" fmla="*/ 287890 h 1091136"/>
                <a:gd name="connsiteX4" fmla="*/ 1271587 w 1282209"/>
                <a:gd name="connsiteY4" fmla="*/ 192640 h 1091136"/>
                <a:gd name="connsiteX5" fmla="*/ 1145381 w 1282209"/>
                <a:gd name="connsiteY5" fmla="*/ 21191 h 1091136"/>
                <a:gd name="connsiteX6" fmla="*/ 1038225 w 1282209"/>
                <a:gd name="connsiteY6" fmla="*/ 16428 h 1091136"/>
                <a:gd name="connsiteX7" fmla="*/ 457200 w 1282209"/>
                <a:gd name="connsiteY7" fmla="*/ 609359 h 1091136"/>
                <a:gd name="connsiteX8" fmla="*/ 238125 w 1282209"/>
                <a:gd name="connsiteY8" fmla="*/ 387903 h 1091136"/>
                <a:gd name="connsiteX9" fmla="*/ 126206 w 1282209"/>
                <a:gd name="connsiteY9" fmla="*/ 385522 h 1091136"/>
                <a:gd name="connsiteX10" fmla="*/ 0 w 1282209"/>
                <a:gd name="connsiteY10" fmla="*/ 545065 h 1091136"/>
                <a:gd name="connsiteX11" fmla="*/ 7143 w 1282209"/>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0 w 1275066"/>
                <a:gd name="connsiteY0" fmla="*/ 618884 h 1091136"/>
                <a:gd name="connsiteX1" fmla="*/ 419100 w 1275066"/>
                <a:gd name="connsiteY1" fmla="*/ 1078465 h 1091136"/>
                <a:gd name="connsiteX2" fmla="*/ 521494 w 1275066"/>
                <a:gd name="connsiteY2" fmla="*/ 1068940 h 1091136"/>
                <a:gd name="connsiteX3" fmla="*/ 1247775 w 1275066"/>
                <a:gd name="connsiteY3" fmla="*/ 287890 h 1091136"/>
                <a:gd name="connsiteX4" fmla="*/ 1264444 w 1275066"/>
                <a:gd name="connsiteY4" fmla="*/ 192640 h 1091136"/>
                <a:gd name="connsiteX5" fmla="*/ 1138238 w 1275066"/>
                <a:gd name="connsiteY5" fmla="*/ 21191 h 1091136"/>
                <a:gd name="connsiteX6" fmla="*/ 1031082 w 1275066"/>
                <a:gd name="connsiteY6" fmla="*/ 16428 h 1091136"/>
                <a:gd name="connsiteX7" fmla="*/ 450057 w 1275066"/>
                <a:gd name="connsiteY7" fmla="*/ 609359 h 1091136"/>
                <a:gd name="connsiteX8" fmla="*/ 230982 w 1275066"/>
                <a:gd name="connsiteY8" fmla="*/ 387903 h 1091136"/>
                <a:gd name="connsiteX9" fmla="*/ 119063 w 1275066"/>
                <a:gd name="connsiteY9" fmla="*/ 385522 h 1091136"/>
                <a:gd name="connsiteX10" fmla="*/ 0 w 1275066"/>
                <a:gd name="connsiteY10" fmla="*/ 523633 h 1091136"/>
                <a:gd name="connsiteX11" fmla="*/ 0 w 1275066"/>
                <a:gd name="connsiteY11" fmla="*/ 618884 h 1091136"/>
                <a:gd name="connsiteX0" fmla="*/ 11641 w 1286707"/>
                <a:gd name="connsiteY0" fmla="*/ 618884 h 1091136"/>
                <a:gd name="connsiteX1" fmla="*/ 430741 w 1286707"/>
                <a:gd name="connsiteY1" fmla="*/ 1078465 h 1091136"/>
                <a:gd name="connsiteX2" fmla="*/ 533135 w 1286707"/>
                <a:gd name="connsiteY2" fmla="*/ 1068940 h 1091136"/>
                <a:gd name="connsiteX3" fmla="*/ 1259416 w 1286707"/>
                <a:gd name="connsiteY3" fmla="*/ 287890 h 1091136"/>
                <a:gd name="connsiteX4" fmla="*/ 1276085 w 1286707"/>
                <a:gd name="connsiteY4" fmla="*/ 192640 h 1091136"/>
                <a:gd name="connsiteX5" fmla="*/ 1149879 w 1286707"/>
                <a:gd name="connsiteY5" fmla="*/ 21191 h 1091136"/>
                <a:gd name="connsiteX6" fmla="*/ 1042723 w 1286707"/>
                <a:gd name="connsiteY6" fmla="*/ 16428 h 1091136"/>
                <a:gd name="connsiteX7" fmla="*/ 461698 w 1286707"/>
                <a:gd name="connsiteY7" fmla="*/ 609359 h 1091136"/>
                <a:gd name="connsiteX8" fmla="*/ 242623 w 1286707"/>
                <a:gd name="connsiteY8" fmla="*/ 387903 h 1091136"/>
                <a:gd name="connsiteX9" fmla="*/ 130704 w 1286707"/>
                <a:gd name="connsiteY9" fmla="*/ 385522 h 1091136"/>
                <a:gd name="connsiteX10" fmla="*/ 11641 w 1286707"/>
                <a:gd name="connsiteY10" fmla="*/ 523633 h 1091136"/>
                <a:gd name="connsiteX11" fmla="*/ 11641 w 1286707"/>
                <a:gd name="connsiteY11" fmla="*/ 618884 h 1091136"/>
                <a:gd name="connsiteX0" fmla="*/ 19645 w 1294711"/>
                <a:gd name="connsiteY0" fmla="*/ 618884 h 1091136"/>
                <a:gd name="connsiteX1" fmla="*/ 438745 w 1294711"/>
                <a:gd name="connsiteY1" fmla="*/ 1078465 h 1091136"/>
                <a:gd name="connsiteX2" fmla="*/ 541139 w 1294711"/>
                <a:gd name="connsiteY2" fmla="*/ 1068940 h 1091136"/>
                <a:gd name="connsiteX3" fmla="*/ 1267420 w 1294711"/>
                <a:gd name="connsiteY3" fmla="*/ 287890 h 1091136"/>
                <a:gd name="connsiteX4" fmla="*/ 1284089 w 1294711"/>
                <a:gd name="connsiteY4" fmla="*/ 192640 h 1091136"/>
                <a:gd name="connsiteX5" fmla="*/ 1157883 w 1294711"/>
                <a:gd name="connsiteY5" fmla="*/ 21191 h 1091136"/>
                <a:gd name="connsiteX6" fmla="*/ 1050727 w 1294711"/>
                <a:gd name="connsiteY6" fmla="*/ 16428 h 1091136"/>
                <a:gd name="connsiteX7" fmla="*/ 469702 w 1294711"/>
                <a:gd name="connsiteY7" fmla="*/ 609359 h 1091136"/>
                <a:gd name="connsiteX8" fmla="*/ 250627 w 1294711"/>
                <a:gd name="connsiteY8" fmla="*/ 387903 h 1091136"/>
                <a:gd name="connsiteX9" fmla="*/ 138708 w 1294711"/>
                <a:gd name="connsiteY9" fmla="*/ 385522 h 1091136"/>
                <a:gd name="connsiteX10" fmla="*/ 19645 w 1294711"/>
                <a:gd name="connsiteY10" fmla="*/ 523633 h 1091136"/>
                <a:gd name="connsiteX11" fmla="*/ 19645 w 1294711"/>
                <a:gd name="connsiteY11" fmla="*/ 618884 h 1091136"/>
                <a:gd name="connsiteX0" fmla="*/ 18763 w 1293829"/>
                <a:gd name="connsiteY0" fmla="*/ 618884 h 1091136"/>
                <a:gd name="connsiteX1" fmla="*/ 437863 w 1293829"/>
                <a:gd name="connsiteY1" fmla="*/ 1078465 h 1091136"/>
                <a:gd name="connsiteX2" fmla="*/ 540257 w 1293829"/>
                <a:gd name="connsiteY2" fmla="*/ 1068940 h 1091136"/>
                <a:gd name="connsiteX3" fmla="*/ 1266538 w 1293829"/>
                <a:gd name="connsiteY3" fmla="*/ 287890 h 1091136"/>
                <a:gd name="connsiteX4" fmla="*/ 1283207 w 1293829"/>
                <a:gd name="connsiteY4" fmla="*/ 192640 h 1091136"/>
                <a:gd name="connsiteX5" fmla="*/ 1157001 w 1293829"/>
                <a:gd name="connsiteY5" fmla="*/ 21191 h 1091136"/>
                <a:gd name="connsiteX6" fmla="*/ 1049845 w 1293829"/>
                <a:gd name="connsiteY6" fmla="*/ 16428 h 1091136"/>
                <a:gd name="connsiteX7" fmla="*/ 468820 w 1293829"/>
                <a:gd name="connsiteY7" fmla="*/ 609359 h 1091136"/>
                <a:gd name="connsiteX8" fmla="*/ 249745 w 1293829"/>
                <a:gd name="connsiteY8" fmla="*/ 387903 h 1091136"/>
                <a:gd name="connsiteX9" fmla="*/ 137826 w 1293829"/>
                <a:gd name="connsiteY9" fmla="*/ 385522 h 1091136"/>
                <a:gd name="connsiteX10" fmla="*/ 18763 w 1293829"/>
                <a:gd name="connsiteY10" fmla="*/ 523633 h 1091136"/>
                <a:gd name="connsiteX11" fmla="*/ 18763 w 1293829"/>
                <a:gd name="connsiteY11" fmla="*/ 618884 h 109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3829" h="1091136">
                  <a:moveTo>
                    <a:pt x="18763" y="618884"/>
                  </a:moveTo>
                  <a:lnTo>
                    <a:pt x="437863" y="1078465"/>
                  </a:lnTo>
                  <a:cubicBezTo>
                    <a:pt x="474375" y="1099102"/>
                    <a:pt x="498981" y="1093547"/>
                    <a:pt x="540257" y="1068940"/>
                  </a:cubicBezTo>
                  <a:cubicBezTo>
                    <a:pt x="782351" y="718103"/>
                    <a:pt x="1067307" y="429177"/>
                    <a:pt x="1266538" y="287890"/>
                  </a:cubicBezTo>
                  <a:cubicBezTo>
                    <a:pt x="1303050" y="251378"/>
                    <a:pt x="1296701" y="222009"/>
                    <a:pt x="1283207" y="192640"/>
                  </a:cubicBezTo>
                  <a:lnTo>
                    <a:pt x="1157001" y="21191"/>
                  </a:lnTo>
                  <a:cubicBezTo>
                    <a:pt x="1126045" y="-11354"/>
                    <a:pt x="1095089" y="-1034"/>
                    <a:pt x="1049845" y="16428"/>
                  </a:cubicBezTo>
                  <a:cubicBezTo>
                    <a:pt x="822833" y="161684"/>
                    <a:pt x="626776" y="366471"/>
                    <a:pt x="468820" y="609359"/>
                  </a:cubicBezTo>
                  <a:lnTo>
                    <a:pt x="249745" y="387903"/>
                  </a:lnTo>
                  <a:cubicBezTo>
                    <a:pt x="210058" y="356153"/>
                    <a:pt x="179894" y="360122"/>
                    <a:pt x="137826" y="385522"/>
                  </a:cubicBezTo>
                  <a:cubicBezTo>
                    <a:pt x="98138" y="431559"/>
                    <a:pt x="58451" y="458546"/>
                    <a:pt x="18763" y="523633"/>
                  </a:cubicBezTo>
                  <a:cubicBezTo>
                    <a:pt x="-5049" y="555383"/>
                    <a:pt x="-7430" y="594278"/>
                    <a:pt x="18763" y="61888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prstClr val="white"/>
                </a:solidFill>
              </a:endParaRPr>
            </a:p>
          </p:txBody>
        </p:sp>
        <p:sp>
          <p:nvSpPr>
            <p:cNvPr id="153" name="Frame 152"/>
            <p:cNvSpPr/>
            <p:nvPr/>
          </p:nvSpPr>
          <p:spPr bwMode="auto">
            <a:xfrm>
              <a:off x="6960469" y="3319987"/>
              <a:ext cx="153998" cy="148076"/>
            </a:xfrm>
            <a:prstGeom prst="frame">
              <a:avLst>
                <a:gd name="adj1" fmla="val 1322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rgbClr val="FFFFFF"/>
                </a:soli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2910429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650" fill="hold"/>
                                        <p:tgtEl>
                                          <p:spTgt spid="99"/>
                                        </p:tgtEl>
                                      </p:cBhvr>
                                      <p:by x="25000" y="25000"/>
                                    </p:animScale>
                                  </p:childTnLst>
                                </p:cTn>
                              </p:par>
                              <p:par>
                                <p:cTn id="7" presetID="42" presetClass="path" presetSubtype="0" accel="50000" decel="50000" fill="hold" nodeType="withEffect">
                                  <p:stCondLst>
                                    <p:cond delay="250"/>
                                  </p:stCondLst>
                                  <p:childTnLst>
                                    <p:animMotion origin="layout" path="M 0.0014 -0.0034 L 0.06523 0.08194 " pathEditMode="relative" rAng="0" ptsTypes="AA">
                                      <p:cBhvr>
                                        <p:cTn id="8" dur="700" fill="hold"/>
                                        <p:tgtEl>
                                          <p:spTgt spid="99"/>
                                        </p:tgtEl>
                                        <p:attrNameLst>
                                          <p:attrName>ppt_x</p:attrName>
                                          <p:attrName>ppt_y</p:attrName>
                                        </p:attrNameLst>
                                      </p:cBhvr>
                                      <p:rCtr x="3191" y="4267"/>
                                    </p:animMotion>
                                  </p:childTnLst>
                                </p:cTn>
                              </p:par>
                            </p:childTnLst>
                          </p:cTn>
                        </p:par>
                        <p:par>
                          <p:cTn id="9" fill="hold">
                            <p:stCondLst>
                              <p:cond delay="950"/>
                            </p:stCondLst>
                            <p:childTnLst>
                              <p:par>
                                <p:cTn id="10" presetID="10" presetClass="entr" presetSubtype="0" fill="hold" grpId="0" nodeType="after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35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4"/>
                                        </p:tgtEl>
                                      </p:cBhvr>
                                    </p:animEffect>
                                    <p:set>
                                      <p:cBhvr>
                                        <p:cTn id="17" dur="1" fill="hold">
                                          <p:stCondLst>
                                            <p:cond delay="499"/>
                                          </p:stCondLst>
                                        </p:cTn>
                                        <p:tgtEl>
                                          <p:spTgt spid="4"/>
                                        </p:tgtEl>
                                        <p:attrNameLst>
                                          <p:attrName>style.visibility</p:attrName>
                                        </p:attrNameLst>
                                      </p:cBhvr>
                                      <p:to>
                                        <p:strVal val="hidden"/>
                                      </p:to>
                                    </p:set>
                                  </p:childTnLst>
                                </p:cTn>
                              </p:par>
                            </p:childTnLst>
                          </p:cTn>
                        </p:par>
                        <p:par>
                          <p:cTn id="18" fill="hold">
                            <p:stCondLst>
                              <p:cond delay="500"/>
                            </p:stCondLst>
                            <p:childTnLst>
                              <p:par>
                                <p:cTn id="19" presetID="42" presetClass="path" presetSubtype="0" accel="50000" decel="50000" fill="hold" nodeType="afterEffect">
                                  <p:stCondLst>
                                    <p:cond delay="0"/>
                                  </p:stCondLst>
                                  <p:childTnLst>
                                    <p:animMotion origin="layout" path="M 0.06523 0.08194 L 0.0014 -0.0034 " pathEditMode="relative" rAng="0" ptsTypes="AA">
                                      <p:cBhvr>
                                        <p:cTn id="20" dur="700" fill="hold"/>
                                        <p:tgtEl>
                                          <p:spTgt spid="99"/>
                                        </p:tgtEl>
                                        <p:attrNameLst>
                                          <p:attrName>ppt_x</p:attrName>
                                          <p:attrName>ppt_y</p:attrName>
                                        </p:attrNameLst>
                                      </p:cBhvr>
                                      <p:rCtr x="-3191" y="-4267"/>
                                    </p:animMotion>
                                  </p:childTnLst>
                                </p:cTn>
                              </p:par>
                            </p:childTnLst>
                          </p:cTn>
                        </p:par>
                        <p:par>
                          <p:cTn id="21" fill="hold">
                            <p:stCondLst>
                              <p:cond delay="1200"/>
                            </p:stCondLst>
                            <p:childTnLst>
                              <p:par>
                                <p:cTn id="22" presetID="10" presetClass="exit" presetSubtype="0" fill="hold" nodeType="afterEffect">
                                  <p:stCondLst>
                                    <p:cond delay="0"/>
                                  </p:stCondLst>
                                  <p:childTnLst>
                                    <p:animEffect transition="out" filter="fade">
                                      <p:cBhvr>
                                        <p:cTn id="23" dur="500"/>
                                        <p:tgtEl>
                                          <p:spTgt spid="99"/>
                                        </p:tgtEl>
                                      </p:cBhvr>
                                    </p:animEffect>
                                    <p:set>
                                      <p:cBhvr>
                                        <p:cTn id="24" dur="1" fill="hold">
                                          <p:stCondLst>
                                            <p:cond delay="499"/>
                                          </p:stCondLst>
                                        </p:cTn>
                                        <p:tgtEl>
                                          <p:spTgt spid="99"/>
                                        </p:tgtEl>
                                        <p:attrNameLst>
                                          <p:attrName>style.visibility</p:attrName>
                                        </p:attrNameLst>
                                      </p:cBhvr>
                                      <p:to>
                                        <p:strVal val="hidden"/>
                                      </p:to>
                                    </p:set>
                                  </p:childTnLst>
                                </p:cTn>
                              </p:par>
                              <p:par>
                                <p:cTn id="25" presetID="31" presetClass="entr" presetSubtype="0" fill="hold" nodeType="withEffect">
                                  <p:stCondLst>
                                    <p:cond delay="0"/>
                                  </p:stCondLst>
                                  <p:childTnLst>
                                    <p:set>
                                      <p:cBhvr>
                                        <p:cTn id="26" dur="1" fill="hold">
                                          <p:stCondLst>
                                            <p:cond delay="0"/>
                                          </p:stCondLst>
                                        </p:cTn>
                                        <p:tgtEl>
                                          <p:spTgt spid="69"/>
                                        </p:tgtEl>
                                        <p:attrNameLst>
                                          <p:attrName>style.visibility</p:attrName>
                                        </p:attrNameLst>
                                      </p:cBhvr>
                                      <p:to>
                                        <p:strVal val="visible"/>
                                      </p:to>
                                    </p:set>
                                    <p:anim calcmode="lin" valueType="num">
                                      <p:cBhvr>
                                        <p:cTn id="27" dur="500" fill="hold"/>
                                        <p:tgtEl>
                                          <p:spTgt spid="69"/>
                                        </p:tgtEl>
                                        <p:attrNameLst>
                                          <p:attrName>ppt_w</p:attrName>
                                        </p:attrNameLst>
                                      </p:cBhvr>
                                      <p:tavLst>
                                        <p:tav tm="0">
                                          <p:val>
                                            <p:fltVal val="0"/>
                                          </p:val>
                                        </p:tav>
                                        <p:tav tm="100000">
                                          <p:val>
                                            <p:strVal val="#ppt_w"/>
                                          </p:val>
                                        </p:tav>
                                      </p:tavLst>
                                    </p:anim>
                                    <p:anim calcmode="lin" valueType="num">
                                      <p:cBhvr>
                                        <p:cTn id="28" dur="500" fill="hold"/>
                                        <p:tgtEl>
                                          <p:spTgt spid="69"/>
                                        </p:tgtEl>
                                        <p:attrNameLst>
                                          <p:attrName>ppt_h</p:attrName>
                                        </p:attrNameLst>
                                      </p:cBhvr>
                                      <p:tavLst>
                                        <p:tav tm="0">
                                          <p:val>
                                            <p:fltVal val="0"/>
                                          </p:val>
                                        </p:tav>
                                        <p:tav tm="100000">
                                          <p:val>
                                            <p:strVal val="#ppt_h"/>
                                          </p:val>
                                        </p:tav>
                                      </p:tavLst>
                                    </p:anim>
                                    <p:anim calcmode="lin" valueType="num">
                                      <p:cBhvr>
                                        <p:cTn id="29" dur="500" fill="hold"/>
                                        <p:tgtEl>
                                          <p:spTgt spid="69"/>
                                        </p:tgtEl>
                                        <p:attrNameLst>
                                          <p:attrName>style.rotation</p:attrName>
                                        </p:attrNameLst>
                                      </p:cBhvr>
                                      <p:tavLst>
                                        <p:tav tm="0">
                                          <p:val>
                                            <p:fltVal val="90"/>
                                          </p:val>
                                        </p:tav>
                                        <p:tav tm="100000">
                                          <p:val>
                                            <p:fltVal val="0"/>
                                          </p:val>
                                        </p:tav>
                                      </p:tavLst>
                                    </p:anim>
                                    <p:animEffect transition="in" filter="fade">
                                      <p:cBhvr>
                                        <p:cTn id="30" dur="500"/>
                                        <p:tgtEl>
                                          <p:spTgt spid="69"/>
                                        </p:tgtEl>
                                      </p:cBhvr>
                                    </p:animEffect>
                                  </p:childTnLst>
                                </p:cTn>
                              </p:par>
                              <p:par>
                                <p:cTn id="31" presetID="6" presetClass="emph" presetSubtype="0" fill="hold" nodeType="withEffect">
                                  <p:stCondLst>
                                    <p:cond delay="0"/>
                                  </p:stCondLst>
                                  <p:childTnLst>
                                    <p:animScale>
                                      <p:cBhvr>
                                        <p:cTn id="32" dur="650" fill="hold"/>
                                        <p:tgtEl>
                                          <p:spTgt spid="93"/>
                                        </p:tgtEl>
                                      </p:cBhvr>
                                      <p:by x="25000" y="25000"/>
                                    </p:animScale>
                                  </p:childTnLst>
                                </p:cTn>
                              </p:par>
                              <p:par>
                                <p:cTn id="33" presetID="42" presetClass="path" presetSubtype="0" accel="50000" decel="50000" fill="hold" nodeType="withEffect">
                                  <p:stCondLst>
                                    <p:cond delay="250"/>
                                  </p:stCondLst>
                                  <p:childTnLst>
                                    <p:animMotion origin="layout" path="M 0.0014 -0.0034 L 0.06523 0.08194 " pathEditMode="relative" rAng="0" ptsTypes="AA">
                                      <p:cBhvr>
                                        <p:cTn id="34" dur="700" fill="hold"/>
                                        <p:tgtEl>
                                          <p:spTgt spid="93"/>
                                        </p:tgtEl>
                                        <p:attrNameLst>
                                          <p:attrName>ppt_x</p:attrName>
                                          <p:attrName>ppt_y</p:attrName>
                                        </p:attrNameLst>
                                      </p:cBhvr>
                                      <p:rCtr x="3191" y="4267"/>
                                    </p:animMotion>
                                  </p:childTnLst>
                                </p:cTn>
                              </p:par>
                            </p:childTnLst>
                          </p:cTn>
                        </p:par>
                        <p:par>
                          <p:cTn id="35" fill="hold">
                            <p:stCondLst>
                              <p:cond delay="2150"/>
                            </p:stCondLst>
                            <p:childTnLst>
                              <p:par>
                                <p:cTn id="36" presetID="10" presetClass="entr" presetSubtype="0" fill="hold" grpId="0" nodeType="afterEffect">
                                  <p:stCondLst>
                                    <p:cond delay="0"/>
                                  </p:stCondLst>
                                  <p:childTnLst>
                                    <p:set>
                                      <p:cBhvr>
                                        <p:cTn id="37" dur="1" fill="hold">
                                          <p:stCondLst>
                                            <p:cond delay="0"/>
                                          </p:stCondLst>
                                        </p:cTn>
                                        <p:tgtEl>
                                          <p:spTgt spid="6"/>
                                        </p:tgtEl>
                                        <p:attrNameLst>
                                          <p:attrName>style.visibility</p:attrName>
                                        </p:attrNameLst>
                                      </p:cBhvr>
                                      <p:to>
                                        <p:strVal val="visible"/>
                                      </p:to>
                                    </p:set>
                                    <p:animEffect transition="in" filter="fade">
                                      <p:cBhvr>
                                        <p:cTn id="38" dur="350"/>
                                        <p:tgtEl>
                                          <p:spTgt spid="6"/>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xit" presetSubtype="0" fill="hold" grpId="1" nodeType="clickEffect">
                                  <p:stCondLst>
                                    <p:cond delay="0"/>
                                  </p:stCondLst>
                                  <p:childTnLst>
                                    <p:animEffect transition="out" filter="fade">
                                      <p:cBhvr>
                                        <p:cTn id="42" dur="500"/>
                                        <p:tgtEl>
                                          <p:spTgt spid="6"/>
                                        </p:tgtEl>
                                      </p:cBhvr>
                                    </p:animEffect>
                                    <p:set>
                                      <p:cBhvr>
                                        <p:cTn id="43" dur="1" fill="hold">
                                          <p:stCondLst>
                                            <p:cond delay="499"/>
                                          </p:stCondLst>
                                        </p:cTn>
                                        <p:tgtEl>
                                          <p:spTgt spid="6"/>
                                        </p:tgtEl>
                                        <p:attrNameLst>
                                          <p:attrName>style.visibility</p:attrName>
                                        </p:attrNameLst>
                                      </p:cBhvr>
                                      <p:to>
                                        <p:strVal val="hidden"/>
                                      </p:to>
                                    </p:set>
                                  </p:childTnLst>
                                </p:cTn>
                              </p:par>
                            </p:childTnLst>
                          </p:cTn>
                        </p:par>
                        <p:par>
                          <p:cTn id="44" fill="hold">
                            <p:stCondLst>
                              <p:cond delay="500"/>
                            </p:stCondLst>
                            <p:childTnLst>
                              <p:par>
                                <p:cTn id="45" presetID="42" presetClass="path" presetSubtype="0" accel="50000" decel="50000" fill="hold" nodeType="afterEffect">
                                  <p:stCondLst>
                                    <p:cond delay="0"/>
                                  </p:stCondLst>
                                  <p:childTnLst>
                                    <p:animMotion origin="layout" path="M 0.06523 0.08194 L 0.0014 -0.0034 " pathEditMode="relative" rAng="0" ptsTypes="AA">
                                      <p:cBhvr>
                                        <p:cTn id="46" dur="700" fill="hold"/>
                                        <p:tgtEl>
                                          <p:spTgt spid="93"/>
                                        </p:tgtEl>
                                        <p:attrNameLst>
                                          <p:attrName>ppt_x</p:attrName>
                                          <p:attrName>ppt_y</p:attrName>
                                        </p:attrNameLst>
                                      </p:cBhvr>
                                      <p:rCtr x="-3191" y="-4267"/>
                                    </p:animMotion>
                                  </p:childTnLst>
                                </p:cTn>
                              </p:par>
                            </p:childTnLst>
                          </p:cTn>
                        </p:par>
                        <p:par>
                          <p:cTn id="47" fill="hold">
                            <p:stCondLst>
                              <p:cond delay="1200"/>
                            </p:stCondLst>
                            <p:childTnLst>
                              <p:par>
                                <p:cTn id="48" presetID="10" presetClass="exit" presetSubtype="0" fill="hold" nodeType="afterEffect">
                                  <p:stCondLst>
                                    <p:cond delay="0"/>
                                  </p:stCondLst>
                                  <p:childTnLst>
                                    <p:animEffect transition="out" filter="fade">
                                      <p:cBhvr>
                                        <p:cTn id="49" dur="500"/>
                                        <p:tgtEl>
                                          <p:spTgt spid="93"/>
                                        </p:tgtEl>
                                      </p:cBhvr>
                                    </p:animEffect>
                                    <p:set>
                                      <p:cBhvr>
                                        <p:cTn id="50" dur="1" fill="hold">
                                          <p:stCondLst>
                                            <p:cond delay="499"/>
                                          </p:stCondLst>
                                        </p:cTn>
                                        <p:tgtEl>
                                          <p:spTgt spid="93"/>
                                        </p:tgtEl>
                                        <p:attrNameLst>
                                          <p:attrName>style.visibility</p:attrName>
                                        </p:attrNameLst>
                                      </p:cBhvr>
                                      <p:to>
                                        <p:strVal val="hidden"/>
                                      </p:to>
                                    </p:set>
                                  </p:childTnLst>
                                </p:cTn>
                              </p:par>
                              <p:par>
                                <p:cTn id="51" presetID="31" presetClass="entr" presetSubtype="0" fill="hold" nodeType="withEffect">
                                  <p:stCondLst>
                                    <p:cond delay="0"/>
                                  </p:stCondLst>
                                  <p:childTnLst>
                                    <p:set>
                                      <p:cBhvr>
                                        <p:cTn id="52" dur="1" fill="hold">
                                          <p:stCondLst>
                                            <p:cond delay="0"/>
                                          </p:stCondLst>
                                        </p:cTn>
                                        <p:tgtEl>
                                          <p:spTgt spid="116"/>
                                        </p:tgtEl>
                                        <p:attrNameLst>
                                          <p:attrName>style.visibility</p:attrName>
                                        </p:attrNameLst>
                                      </p:cBhvr>
                                      <p:to>
                                        <p:strVal val="visible"/>
                                      </p:to>
                                    </p:set>
                                    <p:anim calcmode="lin" valueType="num">
                                      <p:cBhvr>
                                        <p:cTn id="53" dur="500" fill="hold"/>
                                        <p:tgtEl>
                                          <p:spTgt spid="116"/>
                                        </p:tgtEl>
                                        <p:attrNameLst>
                                          <p:attrName>ppt_w</p:attrName>
                                        </p:attrNameLst>
                                      </p:cBhvr>
                                      <p:tavLst>
                                        <p:tav tm="0">
                                          <p:val>
                                            <p:fltVal val="0"/>
                                          </p:val>
                                        </p:tav>
                                        <p:tav tm="100000">
                                          <p:val>
                                            <p:strVal val="#ppt_w"/>
                                          </p:val>
                                        </p:tav>
                                      </p:tavLst>
                                    </p:anim>
                                    <p:anim calcmode="lin" valueType="num">
                                      <p:cBhvr>
                                        <p:cTn id="54" dur="500" fill="hold"/>
                                        <p:tgtEl>
                                          <p:spTgt spid="116"/>
                                        </p:tgtEl>
                                        <p:attrNameLst>
                                          <p:attrName>ppt_h</p:attrName>
                                        </p:attrNameLst>
                                      </p:cBhvr>
                                      <p:tavLst>
                                        <p:tav tm="0">
                                          <p:val>
                                            <p:fltVal val="0"/>
                                          </p:val>
                                        </p:tav>
                                        <p:tav tm="100000">
                                          <p:val>
                                            <p:strVal val="#ppt_h"/>
                                          </p:val>
                                        </p:tav>
                                      </p:tavLst>
                                    </p:anim>
                                    <p:anim calcmode="lin" valueType="num">
                                      <p:cBhvr>
                                        <p:cTn id="55" dur="500" fill="hold"/>
                                        <p:tgtEl>
                                          <p:spTgt spid="116"/>
                                        </p:tgtEl>
                                        <p:attrNameLst>
                                          <p:attrName>style.rotation</p:attrName>
                                        </p:attrNameLst>
                                      </p:cBhvr>
                                      <p:tavLst>
                                        <p:tav tm="0">
                                          <p:val>
                                            <p:fltVal val="90"/>
                                          </p:val>
                                        </p:tav>
                                        <p:tav tm="100000">
                                          <p:val>
                                            <p:fltVal val="0"/>
                                          </p:val>
                                        </p:tav>
                                      </p:tavLst>
                                    </p:anim>
                                    <p:animEffect transition="in" filter="fade">
                                      <p:cBhvr>
                                        <p:cTn id="56" dur="500"/>
                                        <p:tgtEl>
                                          <p:spTgt spid="116"/>
                                        </p:tgtEl>
                                      </p:cBhvr>
                                    </p:animEffect>
                                  </p:childTnLst>
                                </p:cTn>
                              </p:par>
                              <p:par>
                                <p:cTn id="57" presetID="6" presetClass="emph" presetSubtype="0" fill="hold" grpId="0" nodeType="withEffect">
                                  <p:stCondLst>
                                    <p:cond delay="0"/>
                                  </p:stCondLst>
                                  <p:childTnLst>
                                    <p:animScale>
                                      <p:cBhvr>
                                        <p:cTn id="58" dur="650" fill="hold"/>
                                        <p:tgtEl>
                                          <p:spTgt spid="92"/>
                                        </p:tgtEl>
                                      </p:cBhvr>
                                      <p:by x="25000" y="25000"/>
                                    </p:animScale>
                                  </p:childTnLst>
                                </p:cTn>
                              </p:par>
                              <p:par>
                                <p:cTn id="59" presetID="42" presetClass="path" presetSubtype="0" accel="50000" decel="50000" fill="hold" grpId="1" nodeType="withEffect">
                                  <p:stCondLst>
                                    <p:cond delay="250"/>
                                  </p:stCondLst>
                                  <p:childTnLst>
                                    <p:animMotion origin="layout" path="M 0.0014 -0.0034 L 0.06523 0.08194 " pathEditMode="relative" rAng="0" ptsTypes="AA">
                                      <p:cBhvr>
                                        <p:cTn id="60" dur="700" fill="hold"/>
                                        <p:tgtEl>
                                          <p:spTgt spid="92"/>
                                        </p:tgtEl>
                                        <p:attrNameLst>
                                          <p:attrName>ppt_x</p:attrName>
                                          <p:attrName>ppt_y</p:attrName>
                                        </p:attrNameLst>
                                      </p:cBhvr>
                                      <p:rCtr x="3191" y="4267"/>
                                    </p:animMotion>
                                  </p:childTnLst>
                                </p:cTn>
                              </p:par>
                            </p:childTnLst>
                          </p:cTn>
                        </p:par>
                        <p:par>
                          <p:cTn id="61" fill="hold">
                            <p:stCondLst>
                              <p:cond delay="2150"/>
                            </p:stCondLst>
                            <p:childTnLst>
                              <p:par>
                                <p:cTn id="62" presetID="10" presetClass="entr" presetSubtype="0" fill="hold" grpId="0" nodeType="afterEffect">
                                  <p:stCondLst>
                                    <p:cond delay="0"/>
                                  </p:stCondLst>
                                  <p:childTnLst>
                                    <p:set>
                                      <p:cBhvr>
                                        <p:cTn id="63" dur="1" fill="hold">
                                          <p:stCondLst>
                                            <p:cond delay="0"/>
                                          </p:stCondLst>
                                        </p:cTn>
                                        <p:tgtEl>
                                          <p:spTgt spid="7"/>
                                        </p:tgtEl>
                                        <p:attrNameLst>
                                          <p:attrName>style.visibility</p:attrName>
                                        </p:attrNameLst>
                                      </p:cBhvr>
                                      <p:to>
                                        <p:strVal val="visible"/>
                                      </p:to>
                                    </p:set>
                                    <p:animEffect transition="in" filter="fade">
                                      <p:cBhvr>
                                        <p:cTn id="64" dur="350"/>
                                        <p:tgtEl>
                                          <p:spTgt spid="7"/>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xit" presetSubtype="0" fill="hold" grpId="1" nodeType="clickEffect">
                                  <p:stCondLst>
                                    <p:cond delay="0"/>
                                  </p:stCondLst>
                                  <p:childTnLst>
                                    <p:animEffect transition="out" filter="fade">
                                      <p:cBhvr>
                                        <p:cTn id="68" dur="500"/>
                                        <p:tgtEl>
                                          <p:spTgt spid="7"/>
                                        </p:tgtEl>
                                      </p:cBhvr>
                                    </p:animEffect>
                                    <p:set>
                                      <p:cBhvr>
                                        <p:cTn id="69" dur="1" fill="hold">
                                          <p:stCondLst>
                                            <p:cond delay="499"/>
                                          </p:stCondLst>
                                        </p:cTn>
                                        <p:tgtEl>
                                          <p:spTgt spid="7"/>
                                        </p:tgtEl>
                                        <p:attrNameLst>
                                          <p:attrName>style.visibility</p:attrName>
                                        </p:attrNameLst>
                                      </p:cBhvr>
                                      <p:to>
                                        <p:strVal val="hidden"/>
                                      </p:to>
                                    </p:set>
                                  </p:childTnLst>
                                </p:cTn>
                              </p:par>
                            </p:childTnLst>
                          </p:cTn>
                        </p:par>
                        <p:par>
                          <p:cTn id="70" fill="hold">
                            <p:stCondLst>
                              <p:cond delay="500"/>
                            </p:stCondLst>
                            <p:childTnLst>
                              <p:par>
                                <p:cTn id="71" presetID="42" presetClass="path" presetSubtype="0" accel="50000" decel="50000" fill="hold" grpId="2" nodeType="afterEffect">
                                  <p:stCondLst>
                                    <p:cond delay="0"/>
                                  </p:stCondLst>
                                  <p:childTnLst>
                                    <p:animMotion origin="layout" path="M 0.06523 0.08194 L 0.0014 -0.0034 " pathEditMode="relative" rAng="0" ptsTypes="AA">
                                      <p:cBhvr>
                                        <p:cTn id="72" dur="700" fill="hold"/>
                                        <p:tgtEl>
                                          <p:spTgt spid="92"/>
                                        </p:tgtEl>
                                        <p:attrNameLst>
                                          <p:attrName>ppt_x</p:attrName>
                                          <p:attrName>ppt_y</p:attrName>
                                        </p:attrNameLst>
                                      </p:cBhvr>
                                      <p:rCtr x="-3191" y="-4267"/>
                                    </p:animMotion>
                                  </p:childTnLst>
                                </p:cTn>
                              </p:par>
                            </p:childTnLst>
                          </p:cTn>
                        </p:par>
                        <p:par>
                          <p:cTn id="73" fill="hold">
                            <p:stCondLst>
                              <p:cond delay="1200"/>
                            </p:stCondLst>
                            <p:childTnLst>
                              <p:par>
                                <p:cTn id="74" presetID="10" presetClass="exit" presetSubtype="0" fill="hold" grpId="3" nodeType="afterEffect">
                                  <p:stCondLst>
                                    <p:cond delay="0"/>
                                  </p:stCondLst>
                                  <p:childTnLst>
                                    <p:animEffect transition="out" filter="fade">
                                      <p:cBhvr>
                                        <p:cTn id="75" dur="500"/>
                                        <p:tgtEl>
                                          <p:spTgt spid="92"/>
                                        </p:tgtEl>
                                      </p:cBhvr>
                                    </p:animEffect>
                                    <p:set>
                                      <p:cBhvr>
                                        <p:cTn id="76" dur="1" fill="hold">
                                          <p:stCondLst>
                                            <p:cond delay="499"/>
                                          </p:stCondLst>
                                        </p:cTn>
                                        <p:tgtEl>
                                          <p:spTgt spid="92"/>
                                        </p:tgtEl>
                                        <p:attrNameLst>
                                          <p:attrName>style.visibility</p:attrName>
                                        </p:attrNameLst>
                                      </p:cBhvr>
                                      <p:to>
                                        <p:strVal val="hidden"/>
                                      </p:to>
                                    </p:set>
                                  </p:childTnLst>
                                </p:cTn>
                              </p:par>
                              <p:par>
                                <p:cTn id="77" presetID="31" presetClass="entr" presetSubtype="0" fill="hold" grpId="0" nodeType="withEffect">
                                  <p:stCondLst>
                                    <p:cond delay="0"/>
                                  </p:stCondLst>
                                  <p:childTnLst>
                                    <p:set>
                                      <p:cBhvr>
                                        <p:cTn id="78" dur="1" fill="hold">
                                          <p:stCondLst>
                                            <p:cond delay="0"/>
                                          </p:stCondLst>
                                        </p:cTn>
                                        <p:tgtEl>
                                          <p:spTgt spid="106"/>
                                        </p:tgtEl>
                                        <p:attrNameLst>
                                          <p:attrName>style.visibility</p:attrName>
                                        </p:attrNameLst>
                                      </p:cBhvr>
                                      <p:to>
                                        <p:strVal val="visible"/>
                                      </p:to>
                                    </p:set>
                                    <p:anim calcmode="lin" valueType="num">
                                      <p:cBhvr>
                                        <p:cTn id="79" dur="500" fill="hold"/>
                                        <p:tgtEl>
                                          <p:spTgt spid="106"/>
                                        </p:tgtEl>
                                        <p:attrNameLst>
                                          <p:attrName>ppt_w</p:attrName>
                                        </p:attrNameLst>
                                      </p:cBhvr>
                                      <p:tavLst>
                                        <p:tav tm="0">
                                          <p:val>
                                            <p:fltVal val="0"/>
                                          </p:val>
                                        </p:tav>
                                        <p:tav tm="100000">
                                          <p:val>
                                            <p:strVal val="#ppt_w"/>
                                          </p:val>
                                        </p:tav>
                                      </p:tavLst>
                                    </p:anim>
                                    <p:anim calcmode="lin" valueType="num">
                                      <p:cBhvr>
                                        <p:cTn id="80" dur="500" fill="hold"/>
                                        <p:tgtEl>
                                          <p:spTgt spid="106"/>
                                        </p:tgtEl>
                                        <p:attrNameLst>
                                          <p:attrName>ppt_h</p:attrName>
                                        </p:attrNameLst>
                                      </p:cBhvr>
                                      <p:tavLst>
                                        <p:tav tm="0">
                                          <p:val>
                                            <p:fltVal val="0"/>
                                          </p:val>
                                        </p:tav>
                                        <p:tav tm="100000">
                                          <p:val>
                                            <p:strVal val="#ppt_h"/>
                                          </p:val>
                                        </p:tav>
                                      </p:tavLst>
                                    </p:anim>
                                    <p:anim calcmode="lin" valueType="num">
                                      <p:cBhvr>
                                        <p:cTn id="81" dur="500" fill="hold"/>
                                        <p:tgtEl>
                                          <p:spTgt spid="106"/>
                                        </p:tgtEl>
                                        <p:attrNameLst>
                                          <p:attrName>style.rotation</p:attrName>
                                        </p:attrNameLst>
                                      </p:cBhvr>
                                      <p:tavLst>
                                        <p:tav tm="0">
                                          <p:val>
                                            <p:fltVal val="90"/>
                                          </p:val>
                                        </p:tav>
                                        <p:tav tm="100000">
                                          <p:val>
                                            <p:fltVal val="0"/>
                                          </p:val>
                                        </p:tav>
                                      </p:tavLst>
                                    </p:anim>
                                    <p:animEffect transition="in" filter="fade">
                                      <p:cBhvr>
                                        <p:cTn id="82" dur="500"/>
                                        <p:tgtEl>
                                          <p:spTgt spid="106"/>
                                        </p:tgtEl>
                                      </p:cBhvr>
                                    </p:animEffect>
                                  </p:childTnLst>
                                </p:cTn>
                              </p:par>
                              <p:par>
                                <p:cTn id="83" presetID="6" presetClass="emph" presetSubtype="0" fill="hold" nodeType="withEffect">
                                  <p:stCondLst>
                                    <p:cond delay="0"/>
                                  </p:stCondLst>
                                  <p:childTnLst>
                                    <p:animScale>
                                      <p:cBhvr>
                                        <p:cTn id="84" dur="650" fill="hold"/>
                                        <p:tgtEl>
                                          <p:spTgt spid="74"/>
                                        </p:tgtEl>
                                      </p:cBhvr>
                                      <p:by x="25000" y="25000"/>
                                    </p:animScale>
                                  </p:childTnLst>
                                </p:cTn>
                              </p:par>
                              <p:par>
                                <p:cTn id="85" presetID="42" presetClass="path" presetSubtype="0" accel="50000" decel="50000" fill="hold" nodeType="withEffect">
                                  <p:stCondLst>
                                    <p:cond delay="250"/>
                                  </p:stCondLst>
                                  <p:childTnLst>
                                    <p:animMotion origin="layout" path="M 0.00141 -0.0034 L 0.06523 0.08194 " pathEditMode="relative" rAng="0" ptsTypes="AA">
                                      <p:cBhvr>
                                        <p:cTn id="86" dur="700" fill="hold"/>
                                        <p:tgtEl>
                                          <p:spTgt spid="74"/>
                                        </p:tgtEl>
                                        <p:attrNameLst>
                                          <p:attrName>ppt_x</p:attrName>
                                          <p:attrName>ppt_y</p:attrName>
                                        </p:attrNameLst>
                                      </p:cBhvr>
                                      <p:rCtr x="3191" y="4267"/>
                                    </p:animMotion>
                                  </p:childTnLst>
                                </p:cTn>
                              </p:par>
                            </p:childTnLst>
                          </p:cTn>
                        </p:par>
                        <p:par>
                          <p:cTn id="87" fill="hold">
                            <p:stCondLst>
                              <p:cond delay="2150"/>
                            </p:stCondLst>
                            <p:childTnLst>
                              <p:par>
                                <p:cTn id="88" presetID="10" presetClass="entr" presetSubtype="0" fill="hold" grpId="0" nodeType="afterEffect">
                                  <p:stCondLst>
                                    <p:cond delay="0"/>
                                  </p:stCondLst>
                                  <p:childTnLst>
                                    <p:set>
                                      <p:cBhvr>
                                        <p:cTn id="89" dur="1" fill="hold">
                                          <p:stCondLst>
                                            <p:cond delay="0"/>
                                          </p:stCondLst>
                                        </p:cTn>
                                        <p:tgtEl>
                                          <p:spTgt spid="8"/>
                                        </p:tgtEl>
                                        <p:attrNameLst>
                                          <p:attrName>style.visibility</p:attrName>
                                        </p:attrNameLst>
                                      </p:cBhvr>
                                      <p:to>
                                        <p:strVal val="visible"/>
                                      </p:to>
                                    </p:set>
                                    <p:animEffect transition="in" filter="fade">
                                      <p:cBhvr>
                                        <p:cTn id="90" dur="350"/>
                                        <p:tgtEl>
                                          <p:spTgt spid="8"/>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xit" presetSubtype="0" fill="hold" grpId="1" nodeType="clickEffect">
                                  <p:stCondLst>
                                    <p:cond delay="0"/>
                                  </p:stCondLst>
                                  <p:childTnLst>
                                    <p:animEffect transition="out" filter="fade">
                                      <p:cBhvr>
                                        <p:cTn id="94" dur="500"/>
                                        <p:tgtEl>
                                          <p:spTgt spid="8"/>
                                        </p:tgtEl>
                                      </p:cBhvr>
                                    </p:animEffect>
                                    <p:set>
                                      <p:cBhvr>
                                        <p:cTn id="95" dur="1" fill="hold">
                                          <p:stCondLst>
                                            <p:cond delay="499"/>
                                          </p:stCondLst>
                                        </p:cTn>
                                        <p:tgtEl>
                                          <p:spTgt spid="8"/>
                                        </p:tgtEl>
                                        <p:attrNameLst>
                                          <p:attrName>style.visibility</p:attrName>
                                        </p:attrNameLst>
                                      </p:cBhvr>
                                      <p:to>
                                        <p:strVal val="hidden"/>
                                      </p:to>
                                    </p:set>
                                  </p:childTnLst>
                                </p:cTn>
                              </p:par>
                            </p:childTnLst>
                          </p:cTn>
                        </p:par>
                        <p:par>
                          <p:cTn id="96" fill="hold">
                            <p:stCondLst>
                              <p:cond delay="500"/>
                            </p:stCondLst>
                            <p:childTnLst>
                              <p:par>
                                <p:cTn id="97" presetID="42" presetClass="path" presetSubtype="0" accel="50000" decel="50000" fill="hold" nodeType="afterEffect">
                                  <p:stCondLst>
                                    <p:cond delay="0"/>
                                  </p:stCondLst>
                                  <p:childTnLst>
                                    <p:animMotion origin="layout" path="M 0.06523 0.08194 L 0.00141 -0.0034 " pathEditMode="relative" rAng="0" ptsTypes="AA">
                                      <p:cBhvr>
                                        <p:cTn id="98" dur="700" fill="hold"/>
                                        <p:tgtEl>
                                          <p:spTgt spid="74"/>
                                        </p:tgtEl>
                                        <p:attrNameLst>
                                          <p:attrName>ppt_x</p:attrName>
                                          <p:attrName>ppt_y</p:attrName>
                                        </p:attrNameLst>
                                      </p:cBhvr>
                                      <p:rCtr x="-3191" y="-4267"/>
                                    </p:animMotion>
                                  </p:childTnLst>
                                </p:cTn>
                              </p:par>
                            </p:childTnLst>
                          </p:cTn>
                        </p:par>
                        <p:par>
                          <p:cTn id="99" fill="hold">
                            <p:stCondLst>
                              <p:cond delay="1200"/>
                            </p:stCondLst>
                            <p:childTnLst>
                              <p:par>
                                <p:cTn id="100" presetID="10" presetClass="exit" presetSubtype="0" fill="hold" nodeType="afterEffect">
                                  <p:stCondLst>
                                    <p:cond delay="0"/>
                                  </p:stCondLst>
                                  <p:childTnLst>
                                    <p:animEffect transition="out" filter="fade">
                                      <p:cBhvr>
                                        <p:cTn id="101" dur="500"/>
                                        <p:tgtEl>
                                          <p:spTgt spid="74"/>
                                        </p:tgtEl>
                                      </p:cBhvr>
                                    </p:animEffect>
                                    <p:set>
                                      <p:cBhvr>
                                        <p:cTn id="102" dur="1" fill="hold">
                                          <p:stCondLst>
                                            <p:cond delay="499"/>
                                          </p:stCondLst>
                                        </p:cTn>
                                        <p:tgtEl>
                                          <p:spTgt spid="74"/>
                                        </p:tgtEl>
                                        <p:attrNameLst>
                                          <p:attrName>style.visibility</p:attrName>
                                        </p:attrNameLst>
                                      </p:cBhvr>
                                      <p:to>
                                        <p:strVal val="hidden"/>
                                      </p:to>
                                    </p:set>
                                  </p:childTnLst>
                                </p:cTn>
                              </p:par>
                              <p:par>
                                <p:cTn id="103" presetID="31" presetClass="entr" presetSubtype="0" fill="hold" nodeType="withEffect">
                                  <p:stCondLst>
                                    <p:cond delay="0"/>
                                  </p:stCondLst>
                                  <p:childTnLst>
                                    <p:set>
                                      <p:cBhvr>
                                        <p:cTn id="104" dur="1" fill="hold">
                                          <p:stCondLst>
                                            <p:cond delay="0"/>
                                          </p:stCondLst>
                                        </p:cTn>
                                        <p:tgtEl>
                                          <p:spTgt spid="146"/>
                                        </p:tgtEl>
                                        <p:attrNameLst>
                                          <p:attrName>style.visibility</p:attrName>
                                        </p:attrNameLst>
                                      </p:cBhvr>
                                      <p:to>
                                        <p:strVal val="visible"/>
                                      </p:to>
                                    </p:set>
                                    <p:anim calcmode="lin" valueType="num">
                                      <p:cBhvr>
                                        <p:cTn id="105" dur="500" fill="hold"/>
                                        <p:tgtEl>
                                          <p:spTgt spid="146"/>
                                        </p:tgtEl>
                                        <p:attrNameLst>
                                          <p:attrName>ppt_w</p:attrName>
                                        </p:attrNameLst>
                                      </p:cBhvr>
                                      <p:tavLst>
                                        <p:tav tm="0">
                                          <p:val>
                                            <p:fltVal val="0"/>
                                          </p:val>
                                        </p:tav>
                                        <p:tav tm="100000">
                                          <p:val>
                                            <p:strVal val="#ppt_w"/>
                                          </p:val>
                                        </p:tav>
                                      </p:tavLst>
                                    </p:anim>
                                    <p:anim calcmode="lin" valueType="num">
                                      <p:cBhvr>
                                        <p:cTn id="106" dur="500" fill="hold"/>
                                        <p:tgtEl>
                                          <p:spTgt spid="146"/>
                                        </p:tgtEl>
                                        <p:attrNameLst>
                                          <p:attrName>ppt_h</p:attrName>
                                        </p:attrNameLst>
                                      </p:cBhvr>
                                      <p:tavLst>
                                        <p:tav tm="0">
                                          <p:val>
                                            <p:fltVal val="0"/>
                                          </p:val>
                                        </p:tav>
                                        <p:tav tm="100000">
                                          <p:val>
                                            <p:strVal val="#ppt_h"/>
                                          </p:val>
                                        </p:tav>
                                      </p:tavLst>
                                    </p:anim>
                                    <p:anim calcmode="lin" valueType="num">
                                      <p:cBhvr>
                                        <p:cTn id="107" dur="500" fill="hold"/>
                                        <p:tgtEl>
                                          <p:spTgt spid="146"/>
                                        </p:tgtEl>
                                        <p:attrNameLst>
                                          <p:attrName>style.rotation</p:attrName>
                                        </p:attrNameLst>
                                      </p:cBhvr>
                                      <p:tavLst>
                                        <p:tav tm="0">
                                          <p:val>
                                            <p:fltVal val="90"/>
                                          </p:val>
                                        </p:tav>
                                        <p:tav tm="100000">
                                          <p:val>
                                            <p:fltVal val="0"/>
                                          </p:val>
                                        </p:tav>
                                      </p:tavLst>
                                    </p:anim>
                                    <p:animEffect transition="in" filter="fade">
                                      <p:cBhvr>
                                        <p:cTn id="108" dur="500"/>
                                        <p:tgtEl>
                                          <p:spTgt spid="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animBg="1"/>
      <p:bldP spid="92" grpId="1" animBg="1"/>
      <p:bldP spid="92" grpId="2" animBg="1"/>
      <p:bldP spid="92" grpId="3" animBg="1"/>
      <p:bldP spid="4" grpId="0"/>
      <p:bldP spid="4" grpId="1"/>
      <p:bldP spid="6" grpId="0"/>
      <p:bldP spid="6" grpId="1"/>
      <p:bldP spid="7" grpId="0"/>
      <p:bldP spid="7" grpId="1"/>
      <p:bldP spid="8" grpId="0"/>
      <p:bldP spid="8" grpId="1"/>
      <p:bldP spid="10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ck Size</a:t>
            </a:r>
          </a:p>
        </p:txBody>
      </p:sp>
      <p:sp>
        <p:nvSpPr>
          <p:cNvPr id="6" name="Content Placeholder 5"/>
          <p:cNvSpPr>
            <a:spLocks noGrp="1"/>
          </p:cNvSpPr>
          <p:nvPr>
            <p:ph sz="quarter" idx="10"/>
          </p:nvPr>
        </p:nvSpPr>
        <p:spPr/>
        <p:txBody>
          <a:bodyPr/>
          <a:lstStyle/>
          <a:p>
            <a:r>
              <a:rPr lang="en-US" dirty="0"/>
              <a:t>Balance on CPU (Workload Type) and IO Throughput need</a:t>
            </a:r>
          </a:p>
          <a:p>
            <a:r>
              <a:rPr lang="en-US" dirty="0"/>
              <a:t>Depends on scenario</a:t>
            </a:r>
          </a:p>
          <a:p>
            <a:pPr lvl="1"/>
            <a:r>
              <a:rPr lang="en-US" dirty="0"/>
              <a:t>Let's assume your cluster has 50 task slots. Let's for simplicity assume that your task needs 5 minutes to analyze 128 MB and 1 minute to set up a map task.</a:t>
            </a:r>
          </a:p>
          <a:p>
            <a:pPr lvl="1"/>
            <a:r>
              <a:rPr lang="en-US" dirty="0"/>
              <a:t>You want to analyze 1.28GB of data. Your job will need 10 tasks that can run in parallel. In total, your job takes 5+1 minutes = 6 minutes.</a:t>
            </a:r>
          </a:p>
          <a:p>
            <a:pPr lvl="1"/>
            <a:r>
              <a:rPr lang="en-US" dirty="0"/>
              <a:t>If you use 256MB blocks you only need 5 tasks but they will each take twice as long. The job will take 10+1 = 11 minutes and will be slower. So </a:t>
            </a:r>
            <a:r>
              <a:rPr lang="en-US" b="1" dirty="0"/>
              <a:t>128MB blocks are faster</a:t>
            </a:r>
            <a:r>
              <a:rPr lang="en-US" dirty="0"/>
              <a:t>.</a:t>
            </a:r>
          </a:p>
          <a:p>
            <a:pPr marL="457046" lvl="1" indent="0">
              <a:buNone/>
            </a:pPr>
            <a:endParaRPr lang="en-US" dirty="0"/>
          </a:p>
        </p:txBody>
      </p:sp>
    </p:spTree>
    <p:extLst>
      <p:ext uri="{BB962C8B-B14F-4D97-AF65-F5344CB8AC3E}">
        <p14:creationId xmlns:p14="http://schemas.microsoft.com/office/powerpoint/2010/main" val="39187390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plication Factor, File Size</a:t>
            </a:r>
          </a:p>
        </p:txBody>
      </p:sp>
      <p:sp>
        <p:nvSpPr>
          <p:cNvPr id="6" name="Content Placeholder 5"/>
          <p:cNvSpPr>
            <a:spLocks noGrp="1"/>
          </p:cNvSpPr>
          <p:nvPr>
            <p:ph sz="quarter" idx="10"/>
          </p:nvPr>
        </p:nvSpPr>
        <p:spPr/>
        <p:txBody>
          <a:bodyPr/>
          <a:lstStyle/>
          <a:p>
            <a:pPr lvl="1"/>
            <a:r>
              <a:rPr lang="en-US" dirty="0"/>
              <a:t>Keep at least 3 copies. Replication used for availability and performance</a:t>
            </a:r>
          </a:p>
          <a:p>
            <a:pPr lvl="1"/>
            <a:endParaRPr lang="en-US" dirty="0"/>
          </a:p>
          <a:p>
            <a:pPr lvl="1"/>
            <a:r>
              <a:rPr lang="en-US" dirty="0"/>
              <a:t>Avoid lots of small files </a:t>
            </a:r>
          </a:p>
          <a:p>
            <a:pPr lvl="2"/>
            <a:r>
              <a:rPr lang="en-US" dirty="0"/>
              <a:t>Impact on name node</a:t>
            </a:r>
          </a:p>
          <a:p>
            <a:pPr lvl="2"/>
            <a:r>
              <a:rPr lang="en-US" dirty="0"/>
              <a:t>Impact on administrative overhead per job</a:t>
            </a:r>
          </a:p>
          <a:p>
            <a:pPr marL="0" indent="0">
              <a:buNone/>
            </a:pPr>
            <a:br>
              <a:rPr lang="en-US" dirty="0"/>
            </a:br>
            <a:endParaRPr lang="en-US" dirty="0"/>
          </a:p>
        </p:txBody>
      </p:sp>
    </p:spTree>
    <p:extLst>
      <p:ext uri="{BB962C8B-B14F-4D97-AF65-F5344CB8AC3E}">
        <p14:creationId xmlns:p14="http://schemas.microsoft.com/office/powerpoint/2010/main" val="38360251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torage Tier Types – Standard &amp; Premium</a:t>
            </a:r>
          </a:p>
        </p:txBody>
      </p:sp>
      <p:sp>
        <p:nvSpPr>
          <p:cNvPr id="6" name="Content Placeholder 5"/>
          <p:cNvSpPr>
            <a:spLocks noGrp="1"/>
          </p:cNvSpPr>
          <p:nvPr>
            <p:ph sz="quarter" idx="10"/>
          </p:nvPr>
        </p:nvSpPr>
        <p:spPr/>
        <p:txBody>
          <a:bodyPr/>
          <a:lstStyle/>
          <a:p>
            <a:pPr lvl="1"/>
            <a:endParaRPr lang="en-US" dirty="0"/>
          </a:p>
          <a:p>
            <a:pPr lvl="1"/>
            <a:endParaRPr lang="en-US" dirty="0"/>
          </a:p>
          <a:p>
            <a:pPr lvl="1"/>
            <a:endParaRPr lang="en-US" dirty="0"/>
          </a:p>
          <a:p>
            <a:pPr lvl="1"/>
            <a:r>
              <a:rPr lang="en-US" dirty="0"/>
              <a:t>Blob Storage stores unstructured object data (</a:t>
            </a:r>
            <a:r>
              <a:rPr lang="en-US" dirty="0" err="1"/>
              <a:t>Block,Page,Append</a:t>
            </a:r>
            <a:r>
              <a:rPr lang="en-US" dirty="0"/>
              <a:t> Blob)</a:t>
            </a:r>
          </a:p>
          <a:p>
            <a:pPr lvl="1"/>
            <a:r>
              <a:rPr lang="en-US" dirty="0"/>
              <a:t>Table Storage stores structured datasets (NoSQL key value store)</a:t>
            </a:r>
          </a:p>
          <a:p>
            <a:pPr lvl="1"/>
            <a:r>
              <a:rPr lang="en-US" dirty="0"/>
              <a:t>Queue Storage provides reliable messaging at scale for cloud services.</a:t>
            </a:r>
          </a:p>
          <a:p>
            <a:pPr lvl="1"/>
            <a:r>
              <a:rPr lang="en-US" dirty="0"/>
              <a:t>File Storage offers shared storage for legacy applications using the standard SMB protocol</a:t>
            </a:r>
          </a:p>
          <a:p>
            <a:pPr lvl="1"/>
            <a:r>
              <a:rPr lang="en-US" dirty="0"/>
              <a:t>Disks are Premium Persistent Disks for Azure IaaS (Windows &amp; Linux </a:t>
            </a:r>
            <a:r>
              <a:rPr lang="en-US" dirty="0" err="1"/>
              <a:t>Vm’s</a:t>
            </a:r>
            <a:r>
              <a:rPr lang="en-US" dirty="0"/>
              <a:t>) - SSD, high IOPS, low latency</a:t>
            </a:r>
          </a:p>
          <a:p>
            <a:pPr lvl="1"/>
            <a:endParaRPr lang="en-US" dirty="0"/>
          </a:p>
          <a:p>
            <a:pPr marL="0" indent="0">
              <a:buNone/>
            </a:pPr>
            <a:br>
              <a:rPr lang="en-US" dirty="0"/>
            </a:br>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97630" y="1060637"/>
            <a:ext cx="2997853" cy="1809728"/>
          </a:xfrm>
          <a:prstGeom prst="rect">
            <a:avLst/>
          </a:prstGeom>
        </p:spPr>
      </p:pic>
    </p:spTree>
    <p:extLst>
      <p:ext uri="{BB962C8B-B14F-4D97-AF65-F5344CB8AC3E}">
        <p14:creationId xmlns:p14="http://schemas.microsoft.com/office/powerpoint/2010/main" val="476290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1122" y="86481"/>
            <a:ext cx="10515600" cy="1325563"/>
          </a:xfrm>
        </p:spPr>
        <p:txBody>
          <a:bodyPr/>
          <a:lstStyle/>
          <a:p>
            <a:r>
              <a:rPr lang="en-US" dirty="0"/>
              <a:t>In this module </a:t>
            </a:r>
          </a:p>
        </p:txBody>
      </p:sp>
      <p:graphicFrame>
        <p:nvGraphicFramePr>
          <p:cNvPr id="14" name="Content Placeholder 13"/>
          <p:cNvGraphicFramePr>
            <a:graphicFrameLocks noGrp="1"/>
          </p:cNvGraphicFramePr>
          <p:nvPr>
            <p:ph sz="quarter" idx="10"/>
            <p:extLst>
              <p:ext uri="{D42A27DB-BD31-4B8C-83A1-F6EECF244321}">
                <p14:modId xmlns:p14="http://schemas.microsoft.com/office/powerpoint/2010/main" val="2525525456"/>
              </p:ext>
            </p:extLst>
          </p:nvPr>
        </p:nvGraphicFramePr>
        <p:xfrm>
          <a:off x="379413" y="1387475"/>
          <a:ext cx="11525250" cy="52911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778724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a:xfrm rot="5400000">
            <a:off x="5996835" y="2805994"/>
            <a:ext cx="520747" cy="6559773"/>
          </a:xfrm>
          <a:prstGeom prst="rect">
            <a:avLst/>
          </a:prstGeom>
          <a:solidFill>
            <a:schemeClr val="tx2"/>
          </a:solidFill>
          <a:ln w="10795">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896386"/>
            <a:r>
              <a:rPr lang="en-US" sz="1961" kern="0" dirty="0">
                <a:solidFill>
                  <a:schemeClr val="bg1"/>
                </a:solidFill>
                <a:latin typeface="Segoe UI Semibold" panose="020B0702040204020203" pitchFamily="34" charset="0"/>
                <a:cs typeface="Segoe UI Semibold" panose="020B0702040204020203" pitchFamily="34" charset="0"/>
              </a:rPr>
              <a:t>Azure Storage</a:t>
            </a:r>
          </a:p>
        </p:txBody>
      </p:sp>
      <p:sp>
        <p:nvSpPr>
          <p:cNvPr id="2" name="Title 1"/>
          <p:cNvSpPr>
            <a:spLocks noGrp="1"/>
          </p:cNvSpPr>
          <p:nvPr>
            <p:ph type="title"/>
          </p:nvPr>
        </p:nvSpPr>
        <p:spPr/>
        <p:txBody>
          <a:bodyPr/>
          <a:lstStyle/>
          <a:p>
            <a:r>
              <a:rPr lang="en-US"/>
              <a:t>HDInsight cluster architecture</a:t>
            </a:r>
            <a:endParaRPr lang="en-US" dirty="0"/>
          </a:p>
        </p:txBody>
      </p:sp>
      <p:sp>
        <p:nvSpPr>
          <p:cNvPr id="4" name="Content Placeholder 3"/>
          <p:cNvSpPr>
            <a:spLocks noGrp="1"/>
          </p:cNvSpPr>
          <p:nvPr>
            <p:ph sz="quarter" idx="10"/>
          </p:nvPr>
        </p:nvSpPr>
        <p:spPr/>
        <p:txBody>
          <a:bodyPr/>
          <a:lstStyle/>
          <a:p>
            <a:endParaRPr lang="en-US" dirty="0"/>
          </a:p>
        </p:txBody>
      </p:sp>
      <p:sp>
        <p:nvSpPr>
          <p:cNvPr id="3" name="Rectangle 2"/>
          <p:cNvSpPr/>
          <p:nvPr/>
        </p:nvSpPr>
        <p:spPr>
          <a:xfrm>
            <a:off x="1959627" y="2227776"/>
            <a:ext cx="8595161" cy="3597726"/>
          </a:xfrm>
          <a:prstGeom prst="rect">
            <a:avLst/>
          </a:prstGeom>
          <a:ln/>
        </p:spPr>
        <p:style>
          <a:lnRef idx="2">
            <a:schemeClr val="accent2"/>
          </a:lnRef>
          <a:fillRef idx="1">
            <a:schemeClr val="lt1"/>
          </a:fillRef>
          <a:effectRef idx="0">
            <a:schemeClr val="accent2"/>
          </a:effectRef>
          <a:fontRef idx="minor">
            <a:schemeClr val="dk1"/>
          </a:fontRef>
        </p:style>
        <p:txBody>
          <a:bodyPr vert="vert270" rtlCol="0" anchor="t"/>
          <a:lstStyle/>
          <a:p>
            <a:pPr algn="ctr" defTabSz="896386"/>
            <a:r>
              <a:rPr lang="en-US" sz="2353" kern="0" dirty="0">
                <a:solidFill>
                  <a:schemeClr val="tx2"/>
                </a:solidFill>
                <a:latin typeface="Segoe UI Semibold" panose="020B0702040204020203" pitchFamily="34" charset="0"/>
                <a:cs typeface="Segoe UI Semibold" panose="020B0702040204020203" pitchFamily="34" charset="0"/>
              </a:rPr>
              <a:t>Azure </a:t>
            </a:r>
            <a:r>
              <a:rPr lang="en-US" sz="2353" kern="0" dirty="0" err="1">
                <a:solidFill>
                  <a:schemeClr val="tx2"/>
                </a:solidFill>
                <a:latin typeface="Segoe UI Semibold" panose="020B0702040204020203" pitchFamily="34" charset="0"/>
                <a:cs typeface="Segoe UI Semibold" panose="020B0702040204020203" pitchFamily="34" charset="0"/>
              </a:rPr>
              <a:t>VNet</a:t>
            </a:r>
            <a:endParaRPr lang="en-US" sz="2353" kern="0" dirty="0">
              <a:solidFill>
                <a:schemeClr val="tx2"/>
              </a:solidFill>
              <a:latin typeface="Segoe UI Semibold" panose="020B0702040204020203" pitchFamily="34" charset="0"/>
              <a:cs typeface="Segoe UI Semibold" panose="020B0702040204020203" pitchFamily="34" charset="0"/>
            </a:endParaRPr>
          </a:p>
        </p:txBody>
      </p:sp>
      <p:sp>
        <p:nvSpPr>
          <p:cNvPr id="10" name="TextBox 9"/>
          <p:cNvSpPr txBox="1"/>
          <p:nvPr/>
        </p:nvSpPr>
        <p:spPr>
          <a:xfrm>
            <a:off x="3085711" y="2324685"/>
            <a:ext cx="1792849" cy="905179"/>
          </a:xfrm>
          <a:prstGeom prst="rect">
            <a:avLst/>
          </a:prstGeom>
          <a:noFill/>
        </p:spPr>
        <p:txBody>
          <a:bodyPr wrap="square" rtlCol="0">
            <a:spAutoFit/>
          </a:bodyPr>
          <a:lstStyle/>
          <a:p>
            <a:pPr algn="r" defTabSz="896386"/>
            <a:r>
              <a:rPr lang="en-US" sz="1765" kern="0" dirty="0">
                <a:solidFill>
                  <a:schemeClr val="tx2"/>
                </a:solidFill>
                <a:latin typeface="Segoe UI Semibold" panose="020B0702040204020203" pitchFamily="34" charset="0"/>
                <a:cs typeface="Segoe UI Semibold" panose="020B0702040204020203" pitchFamily="34" charset="0"/>
              </a:rPr>
              <a:t>Secure gateway</a:t>
            </a:r>
          </a:p>
          <a:p>
            <a:pPr algn="r" defTabSz="896386"/>
            <a:r>
              <a:rPr lang="en-US" sz="1765" kern="0" dirty="0" err="1">
                <a:solidFill>
                  <a:schemeClr val="tx2"/>
                </a:solidFill>
                <a:latin typeface="Segoe UI Semibold" panose="020B0702040204020203" pitchFamily="34" charset="0"/>
                <a:cs typeface="Segoe UI Semibold" panose="020B0702040204020203" pitchFamily="34" charset="0"/>
              </a:rPr>
              <a:t>AuthN</a:t>
            </a:r>
            <a:endParaRPr lang="en-US" sz="1765" kern="0" dirty="0">
              <a:solidFill>
                <a:schemeClr val="tx2"/>
              </a:solidFill>
              <a:latin typeface="Segoe UI Semibold" panose="020B0702040204020203" pitchFamily="34" charset="0"/>
              <a:cs typeface="Segoe UI Semibold" panose="020B0702040204020203" pitchFamily="34" charset="0"/>
            </a:endParaRPr>
          </a:p>
          <a:p>
            <a:pPr algn="r" defTabSz="896386"/>
            <a:r>
              <a:rPr lang="en-US" sz="1765" kern="0" dirty="0">
                <a:solidFill>
                  <a:schemeClr val="tx2"/>
                </a:solidFill>
                <a:latin typeface="Segoe UI Semibold" panose="020B0702040204020203" pitchFamily="34" charset="0"/>
                <a:cs typeface="Segoe UI Semibold" panose="020B0702040204020203" pitchFamily="34" charset="0"/>
              </a:rPr>
              <a:t>HTTP Proxy</a:t>
            </a:r>
          </a:p>
        </p:txBody>
      </p:sp>
      <p:grpSp>
        <p:nvGrpSpPr>
          <p:cNvPr id="39" name="Group 38"/>
          <p:cNvGrpSpPr/>
          <p:nvPr/>
        </p:nvGrpSpPr>
        <p:grpSpPr>
          <a:xfrm rot="5400000">
            <a:off x="5910199" y="2949074"/>
            <a:ext cx="694016" cy="1662739"/>
            <a:chOff x="5835515" y="2993627"/>
            <a:chExt cx="1016991" cy="2436531"/>
          </a:xfrm>
        </p:grpSpPr>
        <p:sp>
          <p:nvSpPr>
            <p:cNvPr id="11" name="Rectangle 10"/>
            <p:cNvSpPr/>
            <p:nvPr/>
          </p:nvSpPr>
          <p:spPr>
            <a:xfrm>
              <a:off x="5835515" y="2993627"/>
              <a:ext cx="1016991" cy="2436531"/>
            </a:xfrm>
            <a:prstGeom prst="rect">
              <a:avLst/>
            </a:prstGeom>
            <a:noFill/>
            <a:ln w="28575">
              <a:solidFill>
                <a:schemeClr val="accent2"/>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896386"/>
              <a:endParaRPr lang="en-US" sz="1765" kern="0">
                <a:solidFill>
                  <a:schemeClr val="tx2"/>
                </a:solidFill>
              </a:endParaRPr>
            </a:p>
          </p:txBody>
        </p:sp>
        <p:sp>
          <p:nvSpPr>
            <p:cNvPr id="12" name="Rectangle 11"/>
            <p:cNvSpPr/>
            <p:nvPr/>
          </p:nvSpPr>
          <p:spPr>
            <a:xfrm>
              <a:off x="5963390" y="3384226"/>
              <a:ext cx="756226" cy="7224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13" name="Rectangle 12"/>
            <p:cNvSpPr/>
            <p:nvPr/>
          </p:nvSpPr>
          <p:spPr>
            <a:xfrm>
              <a:off x="5965897" y="4360222"/>
              <a:ext cx="756226" cy="7224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grpSp>
      <p:sp>
        <p:nvSpPr>
          <p:cNvPr id="14" name="TextBox 13"/>
          <p:cNvSpPr txBox="1"/>
          <p:nvPr/>
        </p:nvSpPr>
        <p:spPr>
          <a:xfrm>
            <a:off x="3063801" y="3463632"/>
            <a:ext cx="1814758" cy="633625"/>
          </a:xfrm>
          <a:prstGeom prst="rect">
            <a:avLst/>
          </a:prstGeom>
          <a:noFill/>
        </p:spPr>
        <p:txBody>
          <a:bodyPr wrap="none" rtlCol="0">
            <a:spAutoFit/>
          </a:bodyPr>
          <a:lstStyle/>
          <a:p>
            <a:pPr algn="r" defTabSz="896386"/>
            <a:r>
              <a:rPr lang="en-US" sz="1765" kern="0" dirty="0">
                <a:solidFill>
                  <a:schemeClr val="tx2"/>
                </a:solidFill>
                <a:latin typeface="Segoe UI Semibold" panose="020B0702040204020203" pitchFamily="34" charset="0"/>
                <a:cs typeface="Segoe UI Semibold" panose="020B0702040204020203" pitchFamily="34" charset="0"/>
              </a:rPr>
              <a:t>Highly available</a:t>
            </a:r>
            <a:br>
              <a:rPr lang="en-US" sz="1765" kern="0" dirty="0">
                <a:solidFill>
                  <a:schemeClr val="tx2"/>
                </a:solidFill>
                <a:latin typeface="Segoe UI Semibold" panose="020B0702040204020203" pitchFamily="34" charset="0"/>
                <a:cs typeface="Segoe UI Semibold" panose="020B0702040204020203" pitchFamily="34" charset="0"/>
              </a:rPr>
            </a:br>
            <a:r>
              <a:rPr lang="en-US" sz="1765" kern="0" dirty="0">
                <a:solidFill>
                  <a:schemeClr val="tx2"/>
                </a:solidFill>
                <a:latin typeface="Segoe UI Semibold" panose="020B0702040204020203" pitchFamily="34" charset="0"/>
                <a:cs typeface="Segoe UI Semibold" panose="020B0702040204020203" pitchFamily="34" charset="0"/>
              </a:rPr>
              <a:t>Head nodes</a:t>
            </a:r>
          </a:p>
        </p:txBody>
      </p:sp>
      <p:sp>
        <p:nvSpPr>
          <p:cNvPr id="15" name="Rectangle 14"/>
          <p:cNvSpPr/>
          <p:nvPr/>
        </p:nvSpPr>
        <p:spPr>
          <a:xfrm>
            <a:off x="5078281" y="4360338"/>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16" name="Rectangle 15"/>
          <p:cNvSpPr/>
          <p:nvPr/>
        </p:nvSpPr>
        <p:spPr>
          <a:xfrm>
            <a:off x="5181738" y="4407237"/>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17" name="Rectangle 16"/>
          <p:cNvSpPr/>
          <p:nvPr/>
        </p:nvSpPr>
        <p:spPr>
          <a:xfrm>
            <a:off x="5285193" y="4454135"/>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18" name="Rectangle 17"/>
          <p:cNvSpPr/>
          <p:nvPr/>
        </p:nvSpPr>
        <p:spPr>
          <a:xfrm>
            <a:off x="5388650" y="4501033"/>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19" name="Rectangle 18"/>
          <p:cNvSpPr/>
          <p:nvPr/>
        </p:nvSpPr>
        <p:spPr>
          <a:xfrm>
            <a:off x="5492106" y="4547932"/>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20" name="Rectangle 19"/>
          <p:cNvSpPr/>
          <p:nvPr/>
        </p:nvSpPr>
        <p:spPr>
          <a:xfrm>
            <a:off x="5595563" y="4594829"/>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21" name="Rectangle 20"/>
          <p:cNvSpPr/>
          <p:nvPr/>
        </p:nvSpPr>
        <p:spPr>
          <a:xfrm>
            <a:off x="5699018" y="4641728"/>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22" name="Rectangle 21"/>
          <p:cNvSpPr/>
          <p:nvPr/>
        </p:nvSpPr>
        <p:spPr>
          <a:xfrm>
            <a:off x="5802475" y="4688626"/>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23" name="Rectangle 22"/>
          <p:cNvSpPr/>
          <p:nvPr/>
        </p:nvSpPr>
        <p:spPr>
          <a:xfrm>
            <a:off x="5905931" y="4735525"/>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r>
              <a:rPr lang="en-US" sz="1765" kern="0" dirty="0">
                <a:solidFill>
                  <a:schemeClr val="tx2"/>
                </a:solidFill>
              </a:rPr>
              <a:t> x</a:t>
            </a:r>
          </a:p>
        </p:txBody>
      </p:sp>
      <p:sp>
        <p:nvSpPr>
          <p:cNvPr id="24" name="Rectangle 23"/>
          <p:cNvSpPr/>
          <p:nvPr/>
        </p:nvSpPr>
        <p:spPr>
          <a:xfrm>
            <a:off x="6009387" y="4782423"/>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25" name="Rectangle 24"/>
          <p:cNvSpPr/>
          <p:nvPr/>
        </p:nvSpPr>
        <p:spPr>
          <a:xfrm>
            <a:off x="6112843" y="4829321"/>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26" name="Rectangle 25"/>
          <p:cNvSpPr/>
          <p:nvPr/>
        </p:nvSpPr>
        <p:spPr>
          <a:xfrm>
            <a:off x="6216300" y="4876220"/>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27" name="Rectangle 26"/>
          <p:cNvSpPr/>
          <p:nvPr/>
        </p:nvSpPr>
        <p:spPr>
          <a:xfrm>
            <a:off x="6319756" y="4923117"/>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28" name="Rectangle 27"/>
          <p:cNvSpPr/>
          <p:nvPr/>
        </p:nvSpPr>
        <p:spPr>
          <a:xfrm>
            <a:off x="6423212" y="4970016"/>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29" name="Rectangle 28"/>
          <p:cNvSpPr/>
          <p:nvPr/>
        </p:nvSpPr>
        <p:spPr>
          <a:xfrm>
            <a:off x="6526668" y="5016915"/>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30" name="Rectangle 29"/>
          <p:cNvSpPr/>
          <p:nvPr/>
        </p:nvSpPr>
        <p:spPr>
          <a:xfrm>
            <a:off x="6630125" y="5063812"/>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31" name="Rectangle 30"/>
          <p:cNvSpPr/>
          <p:nvPr/>
        </p:nvSpPr>
        <p:spPr>
          <a:xfrm>
            <a:off x="6733580" y="5110711"/>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32" name="Rectangle 31"/>
          <p:cNvSpPr/>
          <p:nvPr/>
        </p:nvSpPr>
        <p:spPr>
          <a:xfrm>
            <a:off x="6837031" y="5157614"/>
            <a:ext cx="599103" cy="57234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33" name="TextBox 32"/>
          <p:cNvSpPr txBox="1"/>
          <p:nvPr/>
        </p:nvSpPr>
        <p:spPr>
          <a:xfrm>
            <a:off x="3261432" y="4770573"/>
            <a:ext cx="1617127" cy="362072"/>
          </a:xfrm>
          <a:prstGeom prst="rect">
            <a:avLst/>
          </a:prstGeom>
          <a:noFill/>
        </p:spPr>
        <p:txBody>
          <a:bodyPr wrap="none" rtlCol="0">
            <a:spAutoFit/>
          </a:bodyPr>
          <a:lstStyle/>
          <a:p>
            <a:pPr algn="r" defTabSz="896386"/>
            <a:r>
              <a:rPr lang="en-US" sz="1765" kern="0" dirty="0">
                <a:solidFill>
                  <a:schemeClr val="tx2"/>
                </a:solidFill>
                <a:latin typeface="Segoe UI Semibold" panose="020B0702040204020203" pitchFamily="34" charset="0"/>
                <a:cs typeface="Segoe UI Semibold" panose="020B0702040204020203" pitchFamily="34" charset="0"/>
              </a:rPr>
              <a:t>Worker nodes</a:t>
            </a:r>
          </a:p>
        </p:txBody>
      </p:sp>
      <p:grpSp>
        <p:nvGrpSpPr>
          <p:cNvPr id="89" name="Group 88"/>
          <p:cNvGrpSpPr/>
          <p:nvPr/>
        </p:nvGrpSpPr>
        <p:grpSpPr>
          <a:xfrm>
            <a:off x="2977322" y="1187940"/>
            <a:ext cx="6559772" cy="854404"/>
            <a:chOff x="6858743" y="2325513"/>
            <a:chExt cx="6691309" cy="871537"/>
          </a:xfrm>
        </p:grpSpPr>
        <p:sp>
          <p:nvSpPr>
            <p:cNvPr id="5" name="Rectangle 4"/>
            <p:cNvSpPr/>
            <p:nvPr/>
          </p:nvSpPr>
          <p:spPr bwMode="auto">
            <a:xfrm>
              <a:off x="6858743" y="2325513"/>
              <a:ext cx="6691309" cy="87153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89642" tIns="44821" rIns="89642" bIns="44821" numCol="1" spcCol="0" rtlCol="0" fromWordArt="0" anchor="t" anchorCtr="0" forceAA="0" compatLnSpc="1">
              <a:prstTxWarp prst="textNoShape">
                <a:avLst/>
              </a:prstTxWarp>
              <a:noAutofit/>
            </a:bodyPr>
            <a:lstStyle/>
            <a:p>
              <a:pPr algn="ctr" defTabSz="914102" fontAlgn="base">
                <a:spcBef>
                  <a:spcPct val="0"/>
                </a:spcBef>
                <a:spcAft>
                  <a:spcPct val="0"/>
                </a:spcAft>
              </a:pPr>
              <a:r>
                <a:rPr lang="en-IN" sz="1961" kern="0" dirty="0">
                  <a:solidFill>
                    <a:schemeClr val="tx2"/>
                  </a:solidFill>
                  <a:latin typeface="Segoe UI Semibold" panose="020B0702040204020203" pitchFamily="34" charset="0"/>
                  <a:ea typeface="Segoe UI" pitchFamily="34" charset="0"/>
                  <a:cs typeface="Segoe UI Semibold" panose="020B0702040204020203" pitchFamily="34" charset="0"/>
                </a:rPr>
                <a:t>HTTP traffic</a:t>
              </a:r>
            </a:p>
          </p:txBody>
        </p:sp>
        <p:grpSp>
          <p:nvGrpSpPr>
            <p:cNvPr id="88" name="Group 87"/>
            <p:cNvGrpSpPr/>
            <p:nvPr/>
          </p:nvGrpSpPr>
          <p:grpSpPr>
            <a:xfrm>
              <a:off x="7682536" y="2493134"/>
              <a:ext cx="5670857" cy="536294"/>
              <a:chOff x="7651739" y="2525033"/>
              <a:chExt cx="5670857" cy="536294"/>
            </a:xfrm>
          </p:grpSpPr>
          <p:sp>
            <p:nvSpPr>
              <p:cNvPr id="35" name="Rectangle 34"/>
              <p:cNvSpPr/>
              <p:nvPr/>
            </p:nvSpPr>
            <p:spPr bwMode="auto">
              <a:xfrm>
                <a:off x="7651739" y="2525033"/>
                <a:ext cx="1385160" cy="53629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1568" b="1" kern="0" dirty="0">
                    <a:solidFill>
                      <a:schemeClr val="tx2"/>
                    </a:solidFill>
                    <a:latin typeface="+mj-lt"/>
                    <a:ea typeface="Segoe UI" pitchFamily="34" charset="0"/>
                    <a:cs typeface="Segoe UI" pitchFamily="34" charset="0"/>
                  </a:rPr>
                  <a:t>ODBC/JDBC</a:t>
                </a:r>
              </a:p>
            </p:txBody>
          </p:sp>
          <p:sp>
            <p:nvSpPr>
              <p:cNvPr id="85" name="Rectangle 84"/>
              <p:cNvSpPr/>
              <p:nvPr/>
            </p:nvSpPr>
            <p:spPr bwMode="auto">
              <a:xfrm>
                <a:off x="9080305" y="2525033"/>
                <a:ext cx="1385160" cy="53629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1568" b="1" kern="0" dirty="0" err="1">
                    <a:solidFill>
                      <a:schemeClr val="tx2"/>
                    </a:solidFill>
                    <a:latin typeface="+mj-lt"/>
                    <a:ea typeface="Segoe UI" pitchFamily="34" charset="0"/>
                    <a:cs typeface="Segoe UI" pitchFamily="34" charset="0"/>
                  </a:rPr>
                  <a:t>WebHCatalog</a:t>
                </a:r>
                <a:endParaRPr lang="en-IN" sz="1568" b="1" kern="0" dirty="0">
                  <a:solidFill>
                    <a:schemeClr val="tx2"/>
                  </a:solidFill>
                  <a:latin typeface="+mj-lt"/>
                  <a:ea typeface="Segoe UI" pitchFamily="34" charset="0"/>
                  <a:cs typeface="Segoe UI" pitchFamily="34" charset="0"/>
                </a:endParaRPr>
              </a:p>
            </p:txBody>
          </p:sp>
          <p:sp>
            <p:nvSpPr>
              <p:cNvPr id="86" name="Rectangle 85"/>
              <p:cNvSpPr/>
              <p:nvPr/>
            </p:nvSpPr>
            <p:spPr bwMode="auto">
              <a:xfrm>
                <a:off x="10508871" y="2525033"/>
                <a:ext cx="1385160" cy="53629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1568" b="1" kern="0" dirty="0" err="1">
                    <a:solidFill>
                      <a:schemeClr val="tx2"/>
                    </a:solidFill>
                    <a:latin typeface="+mj-lt"/>
                    <a:ea typeface="Segoe UI" pitchFamily="34" charset="0"/>
                    <a:cs typeface="Segoe UI" pitchFamily="34" charset="0"/>
                  </a:rPr>
                  <a:t>Oozie</a:t>
                </a:r>
                <a:endParaRPr lang="en-IN" sz="1568" b="1" kern="0" dirty="0">
                  <a:solidFill>
                    <a:schemeClr val="tx2"/>
                  </a:solidFill>
                  <a:latin typeface="+mj-lt"/>
                  <a:ea typeface="Segoe UI" pitchFamily="34" charset="0"/>
                  <a:cs typeface="Segoe UI" pitchFamily="34" charset="0"/>
                </a:endParaRPr>
              </a:p>
            </p:txBody>
          </p:sp>
          <p:sp>
            <p:nvSpPr>
              <p:cNvPr id="87" name="Rectangle 86"/>
              <p:cNvSpPr/>
              <p:nvPr/>
            </p:nvSpPr>
            <p:spPr bwMode="auto">
              <a:xfrm>
                <a:off x="11937436" y="2525033"/>
                <a:ext cx="1385160" cy="53629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143428" rIns="89642" bIns="143428" numCol="1" spcCol="0" rtlCol="0" fromWordArt="0" anchor="ctr" anchorCtr="0" forceAA="0" compatLnSpc="1">
                <a:prstTxWarp prst="textNoShape">
                  <a:avLst/>
                </a:prstTxWarp>
                <a:noAutofit/>
              </a:bodyPr>
              <a:lstStyle/>
              <a:p>
                <a:pPr algn="ctr" defTabSz="914102" fontAlgn="base">
                  <a:spcBef>
                    <a:spcPct val="0"/>
                  </a:spcBef>
                  <a:spcAft>
                    <a:spcPct val="0"/>
                  </a:spcAft>
                </a:pPr>
                <a:r>
                  <a:rPr lang="en-IN" sz="1568" b="1" kern="0" dirty="0" err="1">
                    <a:solidFill>
                      <a:schemeClr val="tx2"/>
                    </a:solidFill>
                    <a:latin typeface="+mj-lt"/>
                    <a:ea typeface="Segoe UI" pitchFamily="34" charset="0"/>
                    <a:cs typeface="Segoe UI" pitchFamily="34" charset="0"/>
                  </a:rPr>
                  <a:t>Ambari</a:t>
                </a:r>
                <a:endParaRPr lang="en-IN" sz="1568" b="1" kern="0" dirty="0">
                  <a:solidFill>
                    <a:schemeClr val="tx2"/>
                  </a:solidFill>
                  <a:latin typeface="+mj-lt"/>
                  <a:ea typeface="Segoe UI" pitchFamily="34" charset="0"/>
                  <a:cs typeface="Segoe UI" pitchFamily="34" charset="0"/>
                </a:endParaRPr>
              </a:p>
            </p:txBody>
          </p:sp>
        </p:grpSp>
      </p:grpSp>
      <p:cxnSp>
        <p:nvCxnSpPr>
          <p:cNvPr id="92" name="Straight Connector 91"/>
          <p:cNvCxnSpPr/>
          <p:nvPr/>
        </p:nvCxnSpPr>
        <p:spPr>
          <a:xfrm flipH="1">
            <a:off x="3207090" y="3262682"/>
            <a:ext cx="5819701" cy="0"/>
          </a:xfrm>
          <a:prstGeom prst="line">
            <a:avLst/>
          </a:prstGeom>
          <a:ln w="3175">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flipH="1">
            <a:off x="3207090" y="4298206"/>
            <a:ext cx="5819701" cy="0"/>
          </a:xfrm>
          <a:prstGeom prst="line">
            <a:avLst/>
          </a:prstGeom>
          <a:ln w="3175">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flipH="1">
            <a:off x="6257209" y="2042343"/>
            <a:ext cx="1" cy="431086"/>
          </a:xfrm>
          <a:prstGeom prst="straightConnector1">
            <a:avLst/>
          </a:prstGeom>
          <a:ln w="25400">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99" name="Straight Arrow Connector 98"/>
          <p:cNvCxnSpPr>
            <a:stCxn id="9" idx="3"/>
            <a:endCxn id="11" idx="1"/>
          </p:cNvCxnSpPr>
          <p:nvPr/>
        </p:nvCxnSpPr>
        <p:spPr>
          <a:xfrm>
            <a:off x="6257207" y="3064829"/>
            <a:ext cx="0" cy="368608"/>
          </a:xfrm>
          <a:prstGeom prst="straightConnector1">
            <a:avLst/>
          </a:prstGeom>
          <a:ln w="25400">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nvGrpSpPr>
          <p:cNvPr id="40" name="Group 39"/>
          <p:cNvGrpSpPr/>
          <p:nvPr/>
        </p:nvGrpSpPr>
        <p:grpSpPr>
          <a:xfrm rot="5400000">
            <a:off x="5969655" y="2081011"/>
            <a:ext cx="575107" cy="1392528"/>
            <a:chOff x="4094531" y="2325003"/>
            <a:chExt cx="586639" cy="1420451"/>
          </a:xfrm>
        </p:grpSpPr>
        <p:sp>
          <p:nvSpPr>
            <p:cNvPr id="9" name="Rectangle 8"/>
            <p:cNvSpPr/>
            <p:nvPr/>
          </p:nvSpPr>
          <p:spPr>
            <a:xfrm>
              <a:off x="4094531" y="2325003"/>
              <a:ext cx="586639" cy="1420451"/>
            </a:xfrm>
            <a:prstGeom prst="rect">
              <a:avLst/>
            </a:prstGeom>
            <a:noFill/>
            <a:ln w="28575">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896386"/>
              <a:endParaRPr lang="en-US" sz="1765" kern="0">
                <a:solidFill>
                  <a:schemeClr val="tx2"/>
                </a:solidFill>
              </a:endParaRPr>
            </a:p>
          </p:txBody>
        </p:sp>
        <p:sp>
          <p:nvSpPr>
            <p:cNvPr id="7" name="Rectangle 6"/>
            <p:cNvSpPr/>
            <p:nvPr/>
          </p:nvSpPr>
          <p:spPr>
            <a:xfrm>
              <a:off x="4169741" y="2557138"/>
              <a:ext cx="436218" cy="4211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sp>
          <p:nvSpPr>
            <p:cNvPr id="8" name="Rectangle 7"/>
            <p:cNvSpPr/>
            <p:nvPr/>
          </p:nvSpPr>
          <p:spPr>
            <a:xfrm>
              <a:off x="4169741" y="3091129"/>
              <a:ext cx="436218" cy="4211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1765" kern="0">
                <a:solidFill>
                  <a:schemeClr val="tx2"/>
                </a:solidFill>
              </a:endParaRPr>
            </a:p>
          </p:txBody>
        </p:sp>
      </p:grpSp>
      <p:cxnSp>
        <p:nvCxnSpPr>
          <p:cNvPr id="103" name="Straight Arrow Connector 102"/>
          <p:cNvCxnSpPr>
            <a:stCxn id="11" idx="3"/>
          </p:cNvCxnSpPr>
          <p:nvPr/>
        </p:nvCxnSpPr>
        <p:spPr>
          <a:xfrm>
            <a:off x="6257207" y="4127452"/>
            <a:ext cx="0" cy="462158"/>
          </a:xfrm>
          <a:prstGeom prst="straightConnector1">
            <a:avLst/>
          </a:prstGeom>
          <a:ln w="25400">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p:nvPr/>
        </p:nvCxnSpPr>
        <p:spPr>
          <a:xfrm>
            <a:off x="6257207" y="5448568"/>
            <a:ext cx="0" cy="360642"/>
          </a:xfrm>
          <a:prstGeom prst="straightConnector1">
            <a:avLst/>
          </a:prstGeom>
          <a:ln w="25400">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3076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9"/>
                                        </p:tgtEl>
                                        <p:attrNameLst>
                                          <p:attrName>style.visibility</p:attrName>
                                        </p:attrNameLst>
                                      </p:cBhvr>
                                      <p:to>
                                        <p:strVal val="visible"/>
                                      </p:to>
                                    </p:set>
                                    <p:animEffect transition="in" filter="fade">
                                      <p:cBhvr>
                                        <p:cTn id="7" dur="500"/>
                                        <p:tgtEl>
                                          <p:spTgt spid="89"/>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95"/>
                                        </p:tgtEl>
                                        <p:attrNameLst>
                                          <p:attrName>style.visibility</p:attrName>
                                        </p:attrNameLst>
                                      </p:cBhvr>
                                      <p:to>
                                        <p:strVal val="visible"/>
                                      </p:to>
                                    </p:set>
                                    <p:animEffect transition="in" filter="wipe(up)">
                                      <p:cBhvr>
                                        <p:cTn id="11" dur="500"/>
                                        <p:tgtEl>
                                          <p:spTgt spid="95"/>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childTnLst>
                          </p:cTn>
                        </p:par>
                        <p:par>
                          <p:cTn id="15" fill="hold">
                            <p:stCondLst>
                              <p:cond delay="1250"/>
                            </p:stCondLst>
                            <p:childTnLst>
                              <p:par>
                                <p:cTn id="16" presetID="22" presetClass="entr" presetSubtype="8"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wipe(left)">
                                      <p:cBhvr>
                                        <p:cTn id="18" dur="500"/>
                                        <p:tgtEl>
                                          <p:spTgt spid="10"/>
                                        </p:tgtEl>
                                      </p:cBhvr>
                                    </p:animEffect>
                                  </p:childTnLst>
                                </p:cTn>
                              </p:par>
                            </p:childTnLst>
                          </p:cTn>
                        </p:par>
                        <p:par>
                          <p:cTn id="19" fill="hold">
                            <p:stCondLst>
                              <p:cond delay="1750"/>
                            </p:stCondLst>
                            <p:childTnLst>
                              <p:par>
                                <p:cTn id="20" presetID="10" presetClass="entr" presetSubtype="0" fill="hold" nodeType="after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nodeType="withEffect">
                                  <p:stCondLst>
                                    <p:cond delay="0"/>
                                  </p:stCondLst>
                                  <p:childTnLst>
                                    <p:set>
                                      <p:cBhvr>
                                        <p:cTn id="24" dur="1" fill="hold">
                                          <p:stCondLst>
                                            <p:cond delay="0"/>
                                          </p:stCondLst>
                                        </p:cTn>
                                        <p:tgtEl>
                                          <p:spTgt spid="92"/>
                                        </p:tgtEl>
                                        <p:attrNameLst>
                                          <p:attrName>style.visibility</p:attrName>
                                        </p:attrNameLst>
                                      </p:cBhvr>
                                      <p:to>
                                        <p:strVal val="visible"/>
                                      </p:to>
                                    </p:set>
                                    <p:animEffect transition="in" filter="fade">
                                      <p:cBhvr>
                                        <p:cTn id="25" dur="500"/>
                                        <p:tgtEl>
                                          <p:spTgt spid="92"/>
                                        </p:tgtEl>
                                      </p:cBhvr>
                                    </p:animEffect>
                                  </p:childTnLst>
                                </p:cTn>
                              </p:par>
                            </p:childTnLst>
                          </p:cTn>
                        </p:par>
                        <p:par>
                          <p:cTn id="26" fill="hold">
                            <p:stCondLst>
                              <p:cond delay="2250"/>
                            </p:stCondLst>
                            <p:childTnLst>
                              <p:par>
                                <p:cTn id="27" presetID="22" presetClass="entr" presetSubtype="1" fill="hold" nodeType="afterEffect">
                                  <p:stCondLst>
                                    <p:cond delay="0"/>
                                  </p:stCondLst>
                                  <p:childTnLst>
                                    <p:set>
                                      <p:cBhvr>
                                        <p:cTn id="28" dur="1" fill="hold">
                                          <p:stCondLst>
                                            <p:cond delay="0"/>
                                          </p:stCondLst>
                                        </p:cTn>
                                        <p:tgtEl>
                                          <p:spTgt spid="99"/>
                                        </p:tgtEl>
                                        <p:attrNameLst>
                                          <p:attrName>style.visibility</p:attrName>
                                        </p:attrNameLst>
                                      </p:cBhvr>
                                      <p:to>
                                        <p:strVal val="visible"/>
                                      </p:to>
                                    </p:set>
                                    <p:animEffect transition="in" filter="wipe(up)">
                                      <p:cBhvr>
                                        <p:cTn id="29" dur="500"/>
                                        <p:tgtEl>
                                          <p:spTgt spid="99"/>
                                        </p:tgtEl>
                                      </p:cBhvr>
                                    </p:animEffect>
                                  </p:childTnLst>
                                </p:cTn>
                              </p:par>
                            </p:childTnLst>
                          </p:cTn>
                        </p:par>
                        <p:par>
                          <p:cTn id="30" fill="hold">
                            <p:stCondLst>
                              <p:cond delay="2750"/>
                            </p:stCondLst>
                            <p:childTnLst>
                              <p:par>
                                <p:cTn id="31" presetID="22" presetClass="entr" presetSubtype="8" fill="hold" grpId="0" nodeType="after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wipe(left)">
                                      <p:cBhvr>
                                        <p:cTn id="33" dur="500"/>
                                        <p:tgtEl>
                                          <p:spTgt spid="14"/>
                                        </p:tgtEl>
                                      </p:cBhvr>
                                    </p:animEffect>
                                  </p:childTnLst>
                                </p:cTn>
                              </p:par>
                            </p:childTnLst>
                          </p:cTn>
                        </p:par>
                        <p:par>
                          <p:cTn id="34" fill="hold">
                            <p:stCondLst>
                              <p:cond delay="3250"/>
                            </p:stCondLst>
                            <p:childTnLst>
                              <p:par>
                                <p:cTn id="35" presetID="10" presetClass="entr" presetSubtype="0" fill="hold" nodeType="afterEffect">
                                  <p:stCondLst>
                                    <p:cond delay="0"/>
                                  </p:stCondLst>
                                  <p:childTnLst>
                                    <p:set>
                                      <p:cBhvr>
                                        <p:cTn id="36" dur="1" fill="hold">
                                          <p:stCondLst>
                                            <p:cond delay="0"/>
                                          </p:stCondLst>
                                        </p:cTn>
                                        <p:tgtEl>
                                          <p:spTgt spid="39"/>
                                        </p:tgtEl>
                                        <p:attrNameLst>
                                          <p:attrName>style.visibility</p:attrName>
                                        </p:attrNameLst>
                                      </p:cBhvr>
                                      <p:to>
                                        <p:strVal val="visible"/>
                                      </p:to>
                                    </p:set>
                                    <p:animEffect transition="in" filter="fade">
                                      <p:cBhvr>
                                        <p:cTn id="37" dur="500"/>
                                        <p:tgtEl>
                                          <p:spTgt spid="39"/>
                                        </p:tgtEl>
                                      </p:cBhvr>
                                    </p:animEffect>
                                  </p:childTnLst>
                                </p:cTn>
                              </p:par>
                              <p:par>
                                <p:cTn id="38" presetID="10" presetClass="entr" presetSubtype="0" fill="hold" nodeType="withEffect">
                                  <p:stCondLst>
                                    <p:cond delay="0"/>
                                  </p:stCondLst>
                                  <p:childTnLst>
                                    <p:set>
                                      <p:cBhvr>
                                        <p:cTn id="39" dur="1" fill="hold">
                                          <p:stCondLst>
                                            <p:cond delay="0"/>
                                          </p:stCondLst>
                                        </p:cTn>
                                        <p:tgtEl>
                                          <p:spTgt spid="94"/>
                                        </p:tgtEl>
                                        <p:attrNameLst>
                                          <p:attrName>style.visibility</p:attrName>
                                        </p:attrNameLst>
                                      </p:cBhvr>
                                      <p:to>
                                        <p:strVal val="visible"/>
                                      </p:to>
                                    </p:set>
                                    <p:animEffect transition="in" filter="fade">
                                      <p:cBhvr>
                                        <p:cTn id="40" dur="500"/>
                                        <p:tgtEl>
                                          <p:spTgt spid="94"/>
                                        </p:tgtEl>
                                      </p:cBhvr>
                                    </p:animEffect>
                                  </p:childTnLst>
                                </p:cTn>
                              </p:par>
                            </p:childTnLst>
                          </p:cTn>
                        </p:par>
                        <p:par>
                          <p:cTn id="41" fill="hold">
                            <p:stCondLst>
                              <p:cond delay="3750"/>
                            </p:stCondLst>
                            <p:childTnLst>
                              <p:par>
                                <p:cTn id="42" presetID="22" presetClass="entr" presetSubtype="1" fill="hold" nodeType="afterEffect">
                                  <p:stCondLst>
                                    <p:cond delay="0"/>
                                  </p:stCondLst>
                                  <p:childTnLst>
                                    <p:set>
                                      <p:cBhvr>
                                        <p:cTn id="43" dur="1" fill="hold">
                                          <p:stCondLst>
                                            <p:cond delay="0"/>
                                          </p:stCondLst>
                                        </p:cTn>
                                        <p:tgtEl>
                                          <p:spTgt spid="103"/>
                                        </p:tgtEl>
                                        <p:attrNameLst>
                                          <p:attrName>style.visibility</p:attrName>
                                        </p:attrNameLst>
                                      </p:cBhvr>
                                      <p:to>
                                        <p:strVal val="visible"/>
                                      </p:to>
                                    </p:set>
                                    <p:animEffect transition="in" filter="wipe(up)">
                                      <p:cBhvr>
                                        <p:cTn id="44" dur="500"/>
                                        <p:tgtEl>
                                          <p:spTgt spid="103"/>
                                        </p:tgtEl>
                                      </p:cBhvr>
                                    </p:animEffect>
                                  </p:childTnLst>
                                </p:cTn>
                              </p:par>
                            </p:childTnLst>
                          </p:cTn>
                        </p:par>
                        <p:par>
                          <p:cTn id="45" fill="hold">
                            <p:stCondLst>
                              <p:cond delay="4250"/>
                            </p:stCondLst>
                            <p:childTnLst>
                              <p:par>
                                <p:cTn id="46" presetID="22" presetClass="entr" presetSubtype="8" fill="hold" grpId="0" nodeType="afterEffect">
                                  <p:stCondLst>
                                    <p:cond delay="0"/>
                                  </p:stCondLst>
                                  <p:childTnLst>
                                    <p:set>
                                      <p:cBhvr>
                                        <p:cTn id="47" dur="1" fill="hold">
                                          <p:stCondLst>
                                            <p:cond delay="0"/>
                                          </p:stCondLst>
                                        </p:cTn>
                                        <p:tgtEl>
                                          <p:spTgt spid="33"/>
                                        </p:tgtEl>
                                        <p:attrNameLst>
                                          <p:attrName>style.visibility</p:attrName>
                                        </p:attrNameLst>
                                      </p:cBhvr>
                                      <p:to>
                                        <p:strVal val="visible"/>
                                      </p:to>
                                    </p:set>
                                    <p:animEffect transition="in" filter="wipe(left)">
                                      <p:cBhvr>
                                        <p:cTn id="48" dur="500"/>
                                        <p:tgtEl>
                                          <p:spTgt spid="33"/>
                                        </p:tgtEl>
                                      </p:cBhvr>
                                    </p:animEffect>
                                  </p:childTnLst>
                                </p:cTn>
                              </p:par>
                            </p:childTnLst>
                          </p:cTn>
                        </p:par>
                        <p:par>
                          <p:cTn id="49" fill="hold">
                            <p:stCondLst>
                              <p:cond delay="4750"/>
                            </p:stCondLst>
                            <p:childTnLst>
                              <p:par>
                                <p:cTn id="50" presetID="10" presetClass="entr" presetSubtype="0" fill="hold" grpId="0"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fade">
                                      <p:cBhvr>
                                        <p:cTn id="52" dur="10"/>
                                        <p:tgtEl>
                                          <p:spTgt spid="15"/>
                                        </p:tgtEl>
                                      </p:cBhvr>
                                    </p:animEffect>
                                  </p:childTnLst>
                                </p:cTn>
                              </p:par>
                            </p:childTnLst>
                          </p:cTn>
                        </p:par>
                        <p:par>
                          <p:cTn id="53" fill="hold">
                            <p:stCondLst>
                              <p:cond delay="4760"/>
                            </p:stCondLst>
                            <p:childTnLst>
                              <p:par>
                                <p:cTn id="54" presetID="10" presetClass="entr" presetSubtype="0" fill="hold" grpId="0" nodeType="afterEffect">
                                  <p:stCondLst>
                                    <p:cond delay="50"/>
                                  </p:stCondLst>
                                  <p:childTnLst>
                                    <p:set>
                                      <p:cBhvr>
                                        <p:cTn id="55" dur="1" fill="hold">
                                          <p:stCondLst>
                                            <p:cond delay="0"/>
                                          </p:stCondLst>
                                        </p:cTn>
                                        <p:tgtEl>
                                          <p:spTgt spid="16"/>
                                        </p:tgtEl>
                                        <p:attrNameLst>
                                          <p:attrName>style.visibility</p:attrName>
                                        </p:attrNameLst>
                                      </p:cBhvr>
                                      <p:to>
                                        <p:strVal val="visible"/>
                                      </p:to>
                                    </p:set>
                                    <p:animEffect transition="in" filter="fade">
                                      <p:cBhvr>
                                        <p:cTn id="56" dur="10"/>
                                        <p:tgtEl>
                                          <p:spTgt spid="16"/>
                                        </p:tgtEl>
                                      </p:cBhvr>
                                    </p:animEffect>
                                  </p:childTnLst>
                                </p:cTn>
                              </p:par>
                            </p:childTnLst>
                          </p:cTn>
                        </p:par>
                        <p:par>
                          <p:cTn id="57" fill="hold">
                            <p:stCondLst>
                              <p:cond delay="4820"/>
                            </p:stCondLst>
                            <p:childTnLst>
                              <p:par>
                                <p:cTn id="58" presetID="10" presetClass="entr" presetSubtype="0" fill="hold" grpId="0" nodeType="afterEffect">
                                  <p:stCondLst>
                                    <p:cond delay="50"/>
                                  </p:stCondLst>
                                  <p:childTnLst>
                                    <p:set>
                                      <p:cBhvr>
                                        <p:cTn id="59" dur="1" fill="hold">
                                          <p:stCondLst>
                                            <p:cond delay="0"/>
                                          </p:stCondLst>
                                        </p:cTn>
                                        <p:tgtEl>
                                          <p:spTgt spid="17"/>
                                        </p:tgtEl>
                                        <p:attrNameLst>
                                          <p:attrName>style.visibility</p:attrName>
                                        </p:attrNameLst>
                                      </p:cBhvr>
                                      <p:to>
                                        <p:strVal val="visible"/>
                                      </p:to>
                                    </p:set>
                                    <p:animEffect transition="in" filter="fade">
                                      <p:cBhvr>
                                        <p:cTn id="60" dur="10"/>
                                        <p:tgtEl>
                                          <p:spTgt spid="17"/>
                                        </p:tgtEl>
                                      </p:cBhvr>
                                    </p:animEffect>
                                  </p:childTnLst>
                                </p:cTn>
                              </p:par>
                            </p:childTnLst>
                          </p:cTn>
                        </p:par>
                        <p:par>
                          <p:cTn id="61" fill="hold">
                            <p:stCondLst>
                              <p:cond delay="4880"/>
                            </p:stCondLst>
                            <p:childTnLst>
                              <p:par>
                                <p:cTn id="62" presetID="10" presetClass="entr" presetSubtype="0" fill="hold" grpId="0" nodeType="afterEffect">
                                  <p:stCondLst>
                                    <p:cond delay="5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
                                        <p:tgtEl>
                                          <p:spTgt spid="18"/>
                                        </p:tgtEl>
                                      </p:cBhvr>
                                    </p:animEffect>
                                  </p:childTnLst>
                                </p:cTn>
                              </p:par>
                            </p:childTnLst>
                          </p:cTn>
                        </p:par>
                        <p:par>
                          <p:cTn id="65" fill="hold">
                            <p:stCondLst>
                              <p:cond delay="4940"/>
                            </p:stCondLst>
                            <p:childTnLst>
                              <p:par>
                                <p:cTn id="66" presetID="10" presetClass="entr" presetSubtype="0" fill="hold" grpId="0" nodeType="afterEffect">
                                  <p:stCondLst>
                                    <p:cond delay="50"/>
                                  </p:stCondLst>
                                  <p:childTnLst>
                                    <p:set>
                                      <p:cBhvr>
                                        <p:cTn id="67" dur="1" fill="hold">
                                          <p:stCondLst>
                                            <p:cond delay="0"/>
                                          </p:stCondLst>
                                        </p:cTn>
                                        <p:tgtEl>
                                          <p:spTgt spid="19"/>
                                        </p:tgtEl>
                                        <p:attrNameLst>
                                          <p:attrName>style.visibility</p:attrName>
                                        </p:attrNameLst>
                                      </p:cBhvr>
                                      <p:to>
                                        <p:strVal val="visible"/>
                                      </p:to>
                                    </p:set>
                                    <p:animEffect transition="in" filter="fade">
                                      <p:cBhvr>
                                        <p:cTn id="68" dur="10"/>
                                        <p:tgtEl>
                                          <p:spTgt spid="19"/>
                                        </p:tgtEl>
                                      </p:cBhvr>
                                    </p:animEffect>
                                  </p:childTnLst>
                                </p:cTn>
                              </p:par>
                            </p:childTnLst>
                          </p:cTn>
                        </p:par>
                        <p:par>
                          <p:cTn id="69" fill="hold">
                            <p:stCondLst>
                              <p:cond delay="5000"/>
                            </p:stCondLst>
                            <p:childTnLst>
                              <p:par>
                                <p:cTn id="70" presetID="10" presetClass="entr" presetSubtype="0" fill="hold" grpId="0" nodeType="afterEffect">
                                  <p:stCondLst>
                                    <p:cond delay="50"/>
                                  </p:stCondLst>
                                  <p:childTnLst>
                                    <p:set>
                                      <p:cBhvr>
                                        <p:cTn id="71" dur="1" fill="hold">
                                          <p:stCondLst>
                                            <p:cond delay="0"/>
                                          </p:stCondLst>
                                        </p:cTn>
                                        <p:tgtEl>
                                          <p:spTgt spid="20"/>
                                        </p:tgtEl>
                                        <p:attrNameLst>
                                          <p:attrName>style.visibility</p:attrName>
                                        </p:attrNameLst>
                                      </p:cBhvr>
                                      <p:to>
                                        <p:strVal val="visible"/>
                                      </p:to>
                                    </p:set>
                                    <p:animEffect transition="in" filter="fade">
                                      <p:cBhvr>
                                        <p:cTn id="72" dur="10"/>
                                        <p:tgtEl>
                                          <p:spTgt spid="20"/>
                                        </p:tgtEl>
                                      </p:cBhvr>
                                    </p:animEffect>
                                  </p:childTnLst>
                                </p:cTn>
                              </p:par>
                            </p:childTnLst>
                          </p:cTn>
                        </p:par>
                        <p:par>
                          <p:cTn id="73" fill="hold">
                            <p:stCondLst>
                              <p:cond delay="5060"/>
                            </p:stCondLst>
                            <p:childTnLst>
                              <p:par>
                                <p:cTn id="74" presetID="10" presetClass="entr" presetSubtype="0" fill="hold" grpId="0" nodeType="afterEffect">
                                  <p:stCondLst>
                                    <p:cond delay="50"/>
                                  </p:stCondLst>
                                  <p:childTnLst>
                                    <p:set>
                                      <p:cBhvr>
                                        <p:cTn id="75" dur="1" fill="hold">
                                          <p:stCondLst>
                                            <p:cond delay="0"/>
                                          </p:stCondLst>
                                        </p:cTn>
                                        <p:tgtEl>
                                          <p:spTgt spid="21"/>
                                        </p:tgtEl>
                                        <p:attrNameLst>
                                          <p:attrName>style.visibility</p:attrName>
                                        </p:attrNameLst>
                                      </p:cBhvr>
                                      <p:to>
                                        <p:strVal val="visible"/>
                                      </p:to>
                                    </p:set>
                                    <p:animEffect transition="in" filter="fade">
                                      <p:cBhvr>
                                        <p:cTn id="76" dur="10"/>
                                        <p:tgtEl>
                                          <p:spTgt spid="21"/>
                                        </p:tgtEl>
                                      </p:cBhvr>
                                    </p:animEffect>
                                  </p:childTnLst>
                                </p:cTn>
                              </p:par>
                            </p:childTnLst>
                          </p:cTn>
                        </p:par>
                        <p:par>
                          <p:cTn id="77" fill="hold">
                            <p:stCondLst>
                              <p:cond delay="5120"/>
                            </p:stCondLst>
                            <p:childTnLst>
                              <p:par>
                                <p:cTn id="78" presetID="10" presetClass="entr" presetSubtype="0" fill="hold" grpId="0" nodeType="afterEffect">
                                  <p:stCondLst>
                                    <p:cond delay="50"/>
                                  </p:stCondLst>
                                  <p:childTnLst>
                                    <p:set>
                                      <p:cBhvr>
                                        <p:cTn id="79" dur="1" fill="hold">
                                          <p:stCondLst>
                                            <p:cond delay="0"/>
                                          </p:stCondLst>
                                        </p:cTn>
                                        <p:tgtEl>
                                          <p:spTgt spid="22"/>
                                        </p:tgtEl>
                                        <p:attrNameLst>
                                          <p:attrName>style.visibility</p:attrName>
                                        </p:attrNameLst>
                                      </p:cBhvr>
                                      <p:to>
                                        <p:strVal val="visible"/>
                                      </p:to>
                                    </p:set>
                                    <p:animEffect transition="in" filter="fade">
                                      <p:cBhvr>
                                        <p:cTn id="80" dur="10"/>
                                        <p:tgtEl>
                                          <p:spTgt spid="22"/>
                                        </p:tgtEl>
                                      </p:cBhvr>
                                    </p:animEffect>
                                  </p:childTnLst>
                                </p:cTn>
                              </p:par>
                            </p:childTnLst>
                          </p:cTn>
                        </p:par>
                        <p:par>
                          <p:cTn id="81" fill="hold">
                            <p:stCondLst>
                              <p:cond delay="5180"/>
                            </p:stCondLst>
                            <p:childTnLst>
                              <p:par>
                                <p:cTn id="82" presetID="10" presetClass="entr" presetSubtype="0" fill="hold" grpId="0" nodeType="afterEffect">
                                  <p:stCondLst>
                                    <p:cond delay="50"/>
                                  </p:stCondLst>
                                  <p:childTnLst>
                                    <p:set>
                                      <p:cBhvr>
                                        <p:cTn id="83" dur="1" fill="hold">
                                          <p:stCondLst>
                                            <p:cond delay="0"/>
                                          </p:stCondLst>
                                        </p:cTn>
                                        <p:tgtEl>
                                          <p:spTgt spid="23"/>
                                        </p:tgtEl>
                                        <p:attrNameLst>
                                          <p:attrName>style.visibility</p:attrName>
                                        </p:attrNameLst>
                                      </p:cBhvr>
                                      <p:to>
                                        <p:strVal val="visible"/>
                                      </p:to>
                                    </p:set>
                                    <p:animEffect transition="in" filter="fade">
                                      <p:cBhvr>
                                        <p:cTn id="84" dur="10"/>
                                        <p:tgtEl>
                                          <p:spTgt spid="23"/>
                                        </p:tgtEl>
                                      </p:cBhvr>
                                    </p:animEffect>
                                  </p:childTnLst>
                                </p:cTn>
                              </p:par>
                            </p:childTnLst>
                          </p:cTn>
                        </p:par>
                        <p:par>
                          <p:cTn id="85" fill="hold">
                            <p:stCondLst>
                              <p:cond delay="5240"/>
                            </p:stCondLst>
                            <p:childTnLst>
                              <p:par>
                                <p:cTn id="86" presetID="10" presetClass="entr" presetSubtype="0" fill="hold" grpId="0" nodeType="afterEffect">
                                  <p:stCondLst>
                                    <p:cond delay="50"/>
                                  </p:stCondLst>
                                  <p:childTnLst>
                                    <p:set>
                                      <p:cBhvr>
                                        <p:cTn id="87" dur="1" fill="hold">
                                          <p:stCondLst>
                                            <p:cond delay="0"/>
                                          </p:stCondLst>
                                        </p:cTn>
                                        <p:tgtEl>
                                          <p:spTgt spid="24"/>
                                        </p:tgtEl>
                                        <p:attrNameLst>
                                          <p:attrName>style.visibility</p:attrName>
                                        </p:attrNameLst>
                                      </p:cBhvr>
                                      <p:to>
                                        <p:strVal val="visible"/>
                                      </p:to>
                                    </p:set>
                                    <p:animEffect transition="in" filter="fade">
                                      <p:cBhvr>
                                        <p:cTn id="88" dur="10"/>
                                        <p:tgtEl>
                                          <p:spTgt spid="24"/>
                                        </p:tgtEl>
                                      </p:cBhvr>
                                    </p:animEffect>
                                  </p:childTnLst>
                                </p:cTn>
                              </p:par>
                            </p:childTnLst>
                          </p:cTn>
                        </p:par>
                        <p:par>
                          <p:cTn id="89" fill="hold">
                            <p:stCondLst>
                              <p:cond delay="5300"/>
                            </p:stCondLst>
                            <p:childTnLst>
                              <p:par>
                                <p:cTn id="90" presetID="10" presetClass="entr" presetSubtype="0" fill="hold" grpId="0" nodeType="afterEffect">
                                  <p:stCondLst>
                                    <p:cond delay="50"/>
                                  </p:stCondLst>
                                  <p:childTnLst>
                                    <p:set>
                                      <p:cBhvr>
                                        <p:cTn id="91" dur="1" fill="hold">
                                          <p:stCondLst>
                                            <p:cond delay="0"/>
                                          </p:stCondLst>
                                        </p:cTn>
                                        <p:tgtEl>
                                          <p:spTgt spid="25"/>
                                        </p:tgtEl>
                                        <p:attrNameLst>
                                          <p:attrName>style.visibility</p:attrName>
                                        </p:attrNameLst>
                                      </p:cBhvr>
                                      <p:to>
                                        <p:strVal val="visible"/>
                                      </p:to>
                                    </p:set>
                                    <p:animEffect transition="in" filter="fade">
                                      <p:cBhvr>
                                        <p:cTn id="92" dur="10"/>
                                        <p:tgtEl>
                                          <p:spTgt spid="25"/>
                                        </p:tgtEl>
                                      </p:cBhvr>
                                    </p:animEffect>
                                  </p:childTnLst>
                                </p:cTn>
                              </p:par>
                            </p:childTnLst>
                          </p:cTn>
                        </p:par>
                        <p:par>
                          <p:cTn id="93" fill="hold">
                            <p:stCondLst>
                              <p:cond delay="5360"/>
                            </p:stCondLst>
                            <p:childTnLst>
                              <p:par>
                                <p:cTn id="94" presetID="10" presetClass="entr" presetSubtype="0" fill="hold" grpId="0" nodeType="afterEffect">
                                  <p:stCondLst>
                                    <p:cond delay="50"/>
                                  </p:stCondLst>
                                  <p:childTnLst>
                                    <p:set>
                                      <p:cBhvr>
                                        <p:cTn id="95" dur="1" fill="hold">
                                          <p:stCondLst>
                                            <p:cond delay="0"/>
                                          </p:stCondLst>
                                        </p:cTn>
                                        <p:tgtEl>
                                          <p:spTgt spid="26"/>
                                        </p:tgtEl>
                                        <p:attrNameLst>
                                          <p:attrName>style.visibility</p:attrName>
                                        </p:attrNameLst>
                                      </p:cBhvr>
                                      <p:to>
                                        <p:strVal val="visible"/>
                                      </p:to>
                                    </p:set>
                                    <p:animEffect transition="in" filter="fade">
                                      <p:cBhvr>
                                        <p:cTn id="96" dur="10"/>
                                        <p:tgtEl>
                                          <p:spTgt spid="26"/>
                                        </p:tgtEl>
                                      </p:cBhvr>
                                    </p:animEffect>
                                  </p:childTnLst>
                                </p:cTn>
                              </p:par>
                            </p:childTnLst>
                          </p:cTn>
                        </p:par>
                        <p:par>
                          <p:cTn id="97" fill="hold">
                            <p:stCondLst>
                              <p:cond delay="5420"/>
                            </p:stCondLst>
                            <p:childTnLst>
                              <p:par>
                                <p:cTn id="98" presetID="10" presetClass="entr" presetSubtype="0" fill="hold" grpId="0" nodeType="afterEffect">
                                  <p:stCondLst>
                                    <p:cond delay="50"/>
                                  </p:stCondLst>
                                  <p:childTnLst>
                                    <p:set>
                                      <p:cBhvr>
                                        <p:cTn id="99" dur="1" fill="hold">
                                          <p:stCondLst>
                                            <p:cond delay="0"/>
                                          </p:stCondLst>
                                        </p:cTn>
                                        <p:tgtEl>
                                          <p:spTgt spid="27"/>
                                        </p:tgtEl>
                                        <p:attrNameLst>
                                          <p:attrName>style.visibility</p:attrName>
                                        </p:attrNameLst>
                                      </p:cBhvr>
                                      <p:to>
                                        <p:strVal val="visible"/>
                                      </p:to>
                                    </p:set>
                                    <p:animEffect transition="in" filter="fade">
                                      <p:cBhvr>
                                        <p:cTn id="100" dur="10"/>
                                        <p:tgtEl>
                                          <p:spTgt spid="27"/>
                                        </p:tgtEl>
                                      </p:cBhvr>
                                    </p:animEffect>
                                  </p:childTnLst>
                                </p:cTn>
                              </p:par>
                            </p:childTnLst>
                          </p:cTn>
                        </p:par>
                        <p:par>
                          <p:cTn id="101" fill="hold">
                            <p:stCondLst>
                              <p:cond delay="5480"/>
                            </p:stCondLst>
                            <p:childTnLst>
                              <p:par>
                                <p:cTn id="102" presetID="10" presetClass="entr" presetSubtype="0" fill="hold" grpId="0" nodeType="afterEffect">
                                  <p:stCondLst>
                                    <p:cond delay="50"/>
                                  </p:stCondLst>
                                  <p:childTnLst>
                                    <p:set>
                                      <p:cBhvr>
                                        <p:cTn id="103" dur="1" fill="hold">
                                          <p:stCondLst>
                                            <p:cond delay="0"/>
                                          </p:stCondLst>
                                        </p:cTn>
                                        <p:tgtEl>
                                          <p:spTgt spid="28"/>
                                        </p:tgtEl>
                                        <p:attrNameLst>
                                          <p:attrName>style.visibility</p:attrName>
                                        </p:attrNameLst>
                                      </p:cBhvr>
                                      <p:to>
                                        <p:strVal val="visible"/>
                                      </p:to>
                                    </p:set>
                                    <p:animEffect transition="in" filter="fade">
                                      <p:cBhvr>
                                        <p:cTn id="104" dur="10"/>
                                        <p:tgtEl>
                                          <p:spTgt spid="28"/>
                                        </p:tgtEl>
                                      </p:cBhvr>
                                    </p:animEffect>
                                  </p:childTnLst>
                                </p:cTn>
                              </p:par>
                            </p:childTnLst>
                          </p:cTn>
                        </p:par>
                        <p:par>
                          <p:cTn id="105" fill="hold">
                            <p:stCondLst>
                              <p:cond delay="5540"/>
                            </p:stCondLst>
                            <p:childTnLst>
                              <p:par>
                                <p:cTn id="106" presetID="10" presetClass="entr" presetSubtype="0" fill="hold" grpId="0" nodeType="afterEffect">
                                  <p:stCondLst>
                                    <p:cond delay="50"/>
                                  </p:stCondLst>
                                  <p:childTnLst>
                                    <p:set>
                                      <p:cBhvr>
                                        <p:cTn id="107" dur="1" fill="hold">
                                          <p:stCondLst>
                                            <p:cond delay="0"/>
                                          </p:stCondLst>
                                        </p:cTn>
                                        <p:tgtEl>
                                          <p:spTgt spid="29"/>
                                        </p:tgtEl>
                                        <p:attrNameLst>
                                          <p:attrName>style.visibility</p:attrName>
                                        </p:attrNameLst>
                                      </p:cBhvr>
                                      <p:to>
                                        <p:strVal val="visible"/>
                                      </p:to>
                                    </p:set>
                                    <p:animEffect transition="in" filter="fade">
                                      <p:cBhvr>
                                        <p:cTn id="108" dur="10"/>
                                        <p:tgtEl>
                                          <p:spTgt spid="29"/>
                                        </p:tgtEl>
                                      </p:cBhvr>
                                    </p:animEffect>
                                  </p:childTnLst>
                                </p:cTn>
                              </p:par>
                            </p:childTnLst>
                          </p:cTn>
                        </p:par>
                        <p:par>
                          <p:cTn id="109" fill="hold">
                            <p:stCondLst>
                              <p:cond delay="5600"/>
                            </p:stCondLst>
                            <p:childTnLst>
                              <p:par>
                                <p:cTn id="110" presetID="10" presetClass="entr" presetSubtype="0" fill="hold" grpId="0" nodeType="afterEffect">
                                  <p:stCondLst>
                                    <p:cond delay="50"/>
                                  </p:stCondLst>
                                  <p:childTnLst>
                                    <p:set>
                                      <p:cBhvr>
                                        <p:cTn id="111" dur="1" fill="hold">
                                          <p:stCondLst>
                                            <p:cond delay="0"/>
                                          </p:stCondLst>
                                        </p:cTn>
                                        <p:tgtEl>
                                          <p:spTgt spid="30"/>
                                        </p:tgtEl>
                                        <p:attrNameLst>
                                          <p:attrName>style.visibility</p:attrName>
                                        </p:attrNameLst>
                                      </p:cBhvr>
                                      <p:to>
                                        <p:strVal val="visible"/>
                                      </p:to>
                                    </p:set>
                                    <p:animEffect transition="in" filter="fade">
                                      <p:cBhvr>
                                        <p:cTn id="112" dur="10"/>
                                        <p:tgtEl>
                                          <p:spTgt spid="30"/>
                                        </p:tgtEl>
                                      </p:cBhvr>
                                    </p:animEffect>
                                  </p:childTnLst>
                                </p:cTn>
                              </p:par>
                            </p:childTnLst>
                          </p:cTn>
                        </p:par>
                        <p:par>
                          <p:cTn id="113" fill="hold">
                            <p:stCondLst>
                              <p:cond delay="5660"/>
                            </p:stCondLst>
                            <p:childTnLst>
                              <p:par>
                                <p:cTn id="114" presetID="10" presetClass="entr" presetSubtype="0" fill="hold" grpId="0" nodeType="afterEffect">
                                  <p:stCondLst>
                                    <p:cond delay="50"/>
                                  </p:stCondLst>
                                  <p:childTnLst>
                                    <p:set>
                                      <p:cBhvr>
                                        <p:cTn id="115" dur="1" fill="hold">
                                          <p:stCondLst>
                                            <p:cond delay="0"/>
                                          </p:stCondLst>
                                        </p:cTn>
                                        <p:tgtEl>
                                          <p:spTgt spid="31"/>
                                        </p:tgtEl>
                                        <p:attrNameLst>
                                          <p:attrName>style.visibility</p:attrName>
                                        </p:attrNameLst>
                                      </p:cBhvr>
                                      <p:to>
                                        <p:strVal val="visible"/>
                                      </p:to>
                                    </p:set>
                                    <p:animEffect transition="in" filter="fade">
                                      <p:cBhvr>
                                        <p:cTn id="116" dur="10"/>
                                        <p:tgtEl>
                                          <p:spTgt spid="31"/>
                                        </p:tgtEl>
                                      </p:cBhvr>
                                    </p:animEffect>
                                  </p:childTnLst>
                                </p:cTn>
                              </p:par>
                            </p:childTnLst>
                          </p:cTn>
                        </p:par>
                        <p:par>
                          <p:cTn id="117" fill="hold">
                            <p:stCondLst>
                              <p:cond delay="5720"/>
                            </p:stCondLst>
                            <p:childTnLst>
                              <p:par>
                                <p:cTn id="118" presetID="10" presetClass="entr" presetSubtype="0" fill="hold" grpId="0" nodeType="afterEffect">
                                  <p:stCondLst>
                                    <p:cond delay="50"/>
                                  </p:stCondLst>
                                  <p:childTnLst>
                                    <p:set>
                                      <p:cBhvr>
                                        <p:cTn id="119" dur="1" fill="hold">
                                          <p:stCondLst>
                                            <p:cond delay="0"/>
                                          </p:stCondLst>
                                        </p:cTn>
                                        <p:tgtEl>
                                          <p:spTgt spid="32"/>
                                        </p:tgtEl>
                                        <p:attrNameLst>
                                          <p:attrName>style.visibility</p:attrName>
                                        </p:attrNameLst>
                                      </p:cBhvr>
                                      <p:to>
                                        <p:strVal val="visible"/>
                                      </p:to>
                                    </p:set>
                                    <p:animEffect transition="in" filter="fade">
                                      <p:cBhvr>
                                        <p:cTn id="120" dur="10"/>
                                        <p:tgtEl>
                                          <p:spTgt spid="32"/>
                                        </p:tgtEl>
                                      </p:cBhvr>
                                    </p:animEffect>
                                  </p:childTnLst>
                                </p:cTn>
                              </p:par>
                            </p:childTnLst>
                          </p:cTn>
                        </p:par>
                        <p:par>
                          <p:cTn id="121" fill="hold">
                            <p:stCondLst>
                              <p:cond delay="5780"/>
                            </p:stCondLst>
                            <p:childTnLst>
                              <p:par>
                                <p:cTn id="122" presetID="22" presetClass="entr" presetSubtype="1" fill="hold" nodeType="afterEffect">
                                  <p:stCondLst>
                                    <p:cond delay="0"/>
                                  </p:stCondLst>
                                  <p:childTnLst>
                                    <p:set>
                                      <p:cBhvr>
                                        <p:cTn id="123" dur="1" fill="hold">
                                          <p:stCondLst>
                                            <p:cond delay="0"/>
                                          </p:stCondLst>
                                        </p:cTn>
                                        <p:tgtEl>
                                          <p:spTgt spid="106"/>
                                        </p:tgtEl>
                                        <p:attrNameLst>
                                          <p:attrName>style.visibility</p:attrName>
                                        </p:attrNameLst>
                                      </p:cBhvr>
                                      <p:to>
                                        <p:strVal val="visible"/>
                                      </p:to>
                                    </p:set>
                                    <p:animEffect transition="in" filter="wipe(up)">
                                      <p:cBhvr>
                                        <p:cTn id="124" dur="500"/>
                                        <p:tgtEl>
                                          <p:spTgt spid="106"/>
                                        </p:tgtEl>
                                      </p:cBhvr>
                                    </p:animEffect>
                                  </p:childTnLst>
                                </p:cTn>
                              </p:par>
                            </p:childTnLst>
                          </p:cTn>
                        </p:par>
                        <p:par>
                          <p:cTn id="125" fill="hold">
                            <p:stCondLst>
                              <p:cond delay="6280"/>
                            </p:stCondLst>
                            <p:childTnLst>
                              <p:par>
                                <p:cTn id="126" presetID="47" presetClass="entr" presetSubtype="0" fill="hold" grpId="0" nodeType="afterEffect">
                                  <p:stCondLst>
                                    <p:cond delay="0"/>
                                  </p:stCondLst>
                                  <p:childTnLst>
                                    <p:set>
                                      <p:cBhvr>
                                        <p:cTn id="127" dur="1" fill="hold">
                                          <p:stCondLst>
                                            <p:cond delay="0"/>
                                          </p:stCondLst>
                                        </p:cTn>
                                        <p:tgtEl>
                                          <p:spTgt spid="34"/>
                                        </p:tgtEl>
                                        <p:attrNameLst>
                                          <p:attrName>style.visibility</p:attrName>
                                        </p:attrNameLst>
                                      </p:cBhvr>
                                      <p:to>
                                        <p:strVal val="visible"/>
                                      </p:to>
                                    </p:set>
                                    <p:animEffect transition="in" filter="fade">
                                      <p:cBhvr>
                                        <p:cTn id="128" dur="1000"/>
                                        <p:tgtEl>
                                          <p:spTgt spid="34"/>
                                        </p:tgtEl>
                                      </p:cBhvr>
                                    </p:animEffect>
                                    <p:anim calcmode="lin" valueType="num">
                                      <p:cBhvr>
                                        <p:cTn id="129" dur="1000" fill="hold"/>
                                        <p:tgtEl>
                                          <p:spTgt spid="34"/>
                                        </p:tgtEl>
                                        <p:attrNameLst>
                                          <p:attrName>ppt_x</p:attrName>
                                        </p:attrNameLst>
                                      </p:cBhvr>
                                      <p:tavLst>
                                        <p:tav tm="0">
                                          <p:val>
                                            <p:strVal val="#ppt_x"/>
                                          </p:val>
                                        </p:tav>
                                        <p:tav tm="100000">
                                          <p:val>
                                            <p:strVal val="#ppt_x"/>
                                          </p:val>
                                        </p:tav>
                                      </p:tavLst>
                                    </p:anim>
                                    <p:anim calcmode="lin" valueType="num">
                                      <p:cBhvr>
                                        <p:cTn id="130"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 grpId="0" animBg="1"/>
      <p:bldP spid="10" grpId="0"/>
      <p:bldP spid="14" grpId="0"/>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DInsight Cluster Type &amp; Nodes</a:t>
            </a:r>
          </a:p>
        </p:txBody>
      </p:sp>
      <p:graphicFrame>
        <p:nvGraphicFramePr>
          <p:cNvPr id="43" name="Content Placeholder 42"/>
          <p:cNvGraphicFramePr>
            <a:graphicFrameLocks noGrp="1"/>
          </p:cNvGraphicFramePr>
          <p:nvPr>
            <p:ph sz="quarter" idx="10"/>
            <p:extLst>
              <p:ext uri="{D42A27DB-BD31-4B8C-83A1-F6EECF244321}">
                <p14:modId xmlns:p14="http://schemas.microsoft.com/office/powerpoint/2010/main" val="3135945339"/>
              </p:ext>
            </p:extLst>
          </p:nvPr>
        </p:nvGraphicFramePr>
        <p:xfrm>
          <a:off x="1878806" y="1207294"/>
          <a:ext cx="5672138" cy="5486400"/>
        </p:xfrm>
        <a:graphic>
          <a:graphicData uri="http://schemas.openxmlformats.org/drawingml/2006/table">
            <a:tbl>
              <a:tblPr firstRow="1" bandRow="1">
                <a:tableStyleId>{5C22544A-7EE6-4342-B048-85BDC9FD1C3A}</a:tableStyleId>
              </a:tblPr>
              <a:tblGrid>
                <a:gridCol w="3283755">
                  <a:extLst>
                    <a:ext uri="{9D8B030D-6E8A-4147-A177-3AD203B41FA5}">
                      <a16:colId xmlns:a16="http://schemas.microsoft.com/office/drawing/2014/main" val="3086954730"/>
                    </a:ext>
                  </a:extLst>
                </a:gridCol>
                <a:gridCol w="2388383">
                  <a:extLst>
                    <a:ext uri="{9D8B030D-6E8A-4147-A177-3AD203B41FA5}">
                      <a16:colId xmlns:a16="http://schemas.microsoft.com/office/drawing/2014/main" val="3190231876"/>
                    </a:ext>
                  </a:extLst>
                </a:gridCol>
              </a:tblGrid>
              <a:tr h="1961156">
                <a:tc>
                  <a:txBody>
                    <a:bodyPr/>
                    <a:lstStyle/>
                    <a:p>
                      <a:r>
                        <a:rPr lang="en-US" sz="3200" dirty="0">
                          <a:latin typeface="Segoe UI Light" panose="020B0502040204020203" pitchFamily="34" charset="0"/>
                          <a:cs typeface="Segoe UI Light" panose="020B0502040204020203" pitchFamily="34" charset="0"/>
                        </a:rPr>
                        <a:t>Type</a:t>
                      </a:r>
                    </a:p>
                  </a:txBody>
                  <a:tcPr/>
                </a:tc>
                <a:tc>
                  <a:txBody>
                    <a:bodyPr/>
                    <a:lstStyle/>
                    <a:p>
                      <a:r>
                        <a:rPr lang="en-US" sz="3200" b="1" kern="1200" dirty="0">
                          <a:solidFill>
                            <a:schemeClr val="lt1"/>
                          </a:solidFill>
                          <a:latin typeface="Segoe UI Light" panose="020B0502040204020203" pitchFamily="34" charset="0"/>
                          <a:ea typeface="+mn-ea"/>
                          <a:cs typeface="Segoe UI Light" panose="020B0502040204020203" pitchFamily="34" charset="0"/>
                        </a:rPr>
                        <a:t>Nodes</a:t>
                      </a:r>
                    </a:p>
                  </a:txBody>
                  <a:tcPr/>
                </a:tc>
                <a:extLst>
                  <a:ext uri="{0D108BD9-81ED-4DB2-BD59-A6C34878D82A}">
                    <a16:rowId xmlns:a16="http://schemas.microsoft.com/office/drawing/2014/main" val="3256518451"/>
                  </a:ext>
                </a:extLst>
              </a:tr>
              <a:tr h="1762622">
                <a:tc>
                  <a:txBody>
                    <a:bodyPr/>
                    <a:lstStyle/>
                    <a:p>
                      <a:r>
                        <a:rPr lang="en-US" sz="3200" dirty="0">
                          <a:latin typeface="Segoe UI Light" panose="020B0502040204020203" pitchFamily="34" charset="0"/>
                          <a:cs typeface="Segoe UI Light" panose="020B0502040204020203" pitchFamily="34" charset="0"/>
                        </a:rPr>
                        <a:t>Hadoop</a:t>
                      </a:r>
                    </a:p>
                    <a:p>
                      <a:r>
                        <a:rPr lang="en-US" sz="3200" dirty="0">
                          <a:latin typeface="Segoe UI Light" panose="020B0502040204020203" pitchFamily="34" charset="0"/>
                          <a:cs typeface="Segoe UI Light" panose="020B0502040204020203" pitchFamily="34" charset="0"/>
                        </a:rPr>
                        <a:t>2 head+1 plus</a:t>
                      </a:r>
                      <a:r>
                        <a:rPr lang="en-US" sz="3200" baseline="0" dirty="0">
                          <a:latin typeface="Segoe UI Light" panose="020B0502040204020203" pitchFamily="34" charset="0"/>
                          <a:cs typeface="Segoe UI Light" panose="020B0502040204020203" pitchFamily="34" charset="0"/>
                        </a:rPr>
                        <a:t> worker</a:t>
                      </a:r>
                      <a:endParaRPr lang="en-US" sz="3200" dirty="0">
                        <a:latin typeface="Segoe UI Light" panose="020B0502040204020203" pitchFamily="34" charset="0"/>
                        <a:cs typeface="Segoe UI Light" panose="020B0502040204020203" pitchFamily="34" charset="0"/>
                      </a:endParaRPr>
                    </a:p>
                  </a:txBody>
                  <a:tcPr/>
                </a:tc>
                <a:tc>
                  <a:txBody>
                    <a:bodyPr/>
                    <a:lstStyle/>
                    <a:p>
                      <a:endParaRPr lang="en-US" dirty="0"/>
                    </a:p>
                  </a:txBody>
                  <a:tcPr/>
                </a:tc>
                <a:extLst>
                  <a:ext uri="{0D108BD9-81ED-4DB2-BD59-A6C34878D82A}">
                    <a16:rowId xmlns:a16="http://schemas.microsoft.com/office/drawing/2014/main" val="2996708686"/>
                  </a:ext>
                </a:extLst>
              </a:tr>
              <a:tr h="1762622">
                <a:tc>
                  <a:txBody>
                    <a:bodyPr/>
                    <a:lstStyle/>
                    <a:p>
                      <a:r>
                        <a:rPr lang="en-US" sz="3200" kern="1200" dirty="0" err="1">
                          <a:solidFill>
                            <a:schemeClr val="dk1"/>
                          </a:solidFill>
                          <a:latin typeface="Segoe UI Light" panose="020B0502040204020203" pitchFamily="34" charset="0"/>
                          <a:ea typeface="+mn-ea"/>
                          <a:cs typeface="Segoe UI Light" panose="020B0502040204020203" pitchFamily="34" charset="0"/>
                        </a:rPr>
                        <a:t>HBase</a:t>
                      </a:r>
                      <a:endParaRPr lang="en-US" sz="3200" kern="1200" dirty="0">
                        <a:solidFill>
                          <a:schemeClr val="dk1"/>
                        </a:solidFill>
                        <a:latin typeface="Segoe UI Light" panose="020B0502040204020203" pitchFamily="34" charset="0"/>
                        <a:ea typeface="+mn-ea"/>
                        <a:cs typeface="Segoe UI Light" panose="020B0502040204020203" pitchFamily="34" charset="0"/>
                      </a:endParaRPr>
                    </a:p>
                    <a:p>
                      <a:r>
                        <a:rPr lang="en-US" sz="3200" kern="1200" dirty="0">
                          <a:solidFill>
                            <a:schemeClr val="dk1"/>
                          </a:solidFill>
                          <a:latin typeface="Segoe UI Light" panose="020B0502040204020203" pitchFamily="34" charset="0"/>
                          <a:ea typeface="+mn-ea"/>
                          <a:cs typeface="Segoe UI Light" panose="020B0502040204020203" pitchFamily="34" charset="0"/>
                        </a:rPr>
                        <a:t>2 head+3</a:t>
                      </a:r>
                      <a:r>
                        <a:rPr lang="en-US" sz="3200" kern="1200" baseline="0" dirty="0">
                          <a:solidFill>
                            <a:schemeClr val="dk1"/>
                          </a:solidFill>
                          <a:latin typeface="Segoe UI Light" panose="020B0502040204020203" pitchFamily="34" charset="0"/>
                          <a:ea typeface="+mn-ea"/>
                          <a:cs typeface="Segoe UI Light" panose="020B0502040204020203" pitchFamily="34" charset="0"/>
                        </a:rPr>
                        <a:t> ZK+1 plus worker</a:t>
                      </a:r>
                      <a:endParaRPr lang="en-US" sz="3200" kern="1200" dirty="0">
                        <a:solidFill>
                          <a:schemeClr val="dk1"/>
                        </a:solidFill>
                        <a:latin typeface="Segoe UI Light" panose="020B0502040204020203" pitchFamily="34" charset="0"/>
                        <a:ea typeface="+mn-ea"/>
                        <a:cs typeface="Segoe UI Light" panose="020B0502040204020203" pitchFamily="34" charset="0"/>
                      </a:endParaRPr>
                    </a:p>
                  </a:txBody>
                  <a:tcPr/>
                </a:tc>
                <a:tc>
                  <a:txBody>
                    <a:bodyPr/>
                    <a:lstStyle/>
                    <a:p>
                      <a:endParaRPr lang="en-US" dirty="0"/>
                    </a:p>
                  </a:txBody>
                  <a:tcPr/>
                </a:tc>
                <a:extLst>
                  <a:ext uri="{0D108BD9-81ED-4DB2-BD59-A6C34878D82A}">
                    <a16:rowId xmlns:a16="http://schemas.microsoft.com/office/drawing/2014/main" val="160637831"/>
                  </a:ext>
                </a:extLst>
              </a:tr>
            </a:tbl>
          </a:graphicData>
        </a:graphic>
      </p:graphicFrame>
      <p:pic>
        <p:nvPicPr>
          <p:cNvPr id="44" name="Picture 4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22875" y="3222497"/>
            <a:ext cx="2250938" cy="1649542"/>
          </a:xfrm>
          <a:prstGeom prst="rect">
            <a:avLst/>
          </a:prstGeom>
        </p:spPr>
      </p:pic>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22875" y="4955204"/>
            <a:ext cx="2267879" cy="1738490"/>
          </a:xfrm>
          <a:prstGeom prst="rect">
            <a:avLst/>
          </a:prstGeom>
        </p:spPr>
      </p:pic>
    </p:spTree>
    <p:extLst>
      <p:ext uri="{BB962C8B-B14F-4D97-AF65-F5344CB8AC3E}">
        <p14:creationId xmlns:p14="http://schemas.microsoft.com/office/powerpoint/2010/main" val="32293555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DInsight service entry points</a:t>
            </a:r>
            <a:endParaRPr lang="en-US" dirty="0"/>
          </a:p>
        </p:txBody>
      </p:sp>
      <p:sp>
        <p:nvSpPr>
          <p:cNvPr id="5" name="Content Placeholder 4"/>
          <p:cNvSpPr>
            <a:spLocks noGrp="1"/>
          </p:cNvSpPr>
          <p:nvPr>
            <p:ph sz="quarter" idx="10"/>
          </p:nvPr>
        </p:nvSpPr>
        <p:spPr/>
        <p:txBody>
          <a:bodyPr/>
          <a:lstStyle/>
          <a:p>
            <a:endParaRPr lang="en-US"/>
          </a:p>
        </p:txBody>
      </p:sp>
      <p:sp>
        <p:nvSpPr>
          <p:cNvPr id="30" name="Slide Number Placeholder 29"/>
          <p:cNvSpPr>
            <a:spLocks noGrp="1"/>
          </p:cNvSpPr>
          <p:nvPr>
            <p:ph type="sldNum" sz="quarter" idx="4294967295"/>
          </p:nvPr>
        </p:nvSpPr>
        <p:spPr>
          <a:xfrm>
            <a:off x="11636375" y="6437313"/>
            <a:ext cx="555625" cy="134937"/>
          </a:xfrm>
          <a:prstGeom prst="rect">
            <a:avLst/>
          </a:prstGeom>
        </p:spPr>
        <p:txBody>
          <a:bodyPr/>
          <a:lstStyle/>
          <a:p>
            <a:pPr defTabSz="896386" fontAlgn="auto">
              <a:spcBef>
                <a:spcPts val="0"/>
              </a:spcBef>
              <a:spcAft>
                <a:spcPts val="0"/>
              </a:spcAft>
            </a:pPr>
            <a:fld id="{F8A0AC42-AA1D-4944-8D96-660DE70C7E1B}" type="slidenum">
              <a:rPr lang="en-IN" sz="1765" kern="0">
                <a:solidFill>
                  <a:sysClr val="windowText" lastClr="000000"/>
                </a:solidFill>
              </a:rPr>
              <a:pPr defTabSz="896386" fontAlgn="auto">
                <a:spcBef>
                  <a:spcPts val="0"/>
                </a:spcBef>
                <a:spcAft>
                  <a:spcPts val="0"/>
                </a:spcAft>
              </a:pPr>
              <a:t>17</a:t>
            </a:fld>
            <a:endParaRPr lang="en-IN" sz="1765" kern="0" dirty="0">
              <a:solidFill>
                <a:sysClr val="windowText" lastClr="000000"/>
              </a:solidFill>
            </a:endParaRPr>
          </a:p>
        </p:txBody>
      </p:sp>
      <p:sp>
        <p:nvSpPr>
          <p:cNvPr id="4" name="Rectangle 3"/>
          <p:cNvSpPr/>
          <p:nvPr/>
        </p:nvSpPr>
        <p:spPr>
          <a:xfrm>
            <a:off x="2522477" y="1807713"/>
            <a:ext cx="2249118" cy="1176733"/>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wrap="none" rtlCol="0" anchor="ctr">
            <a:spAutoFit/>
          </a:bodyPr>
          <a:lstStyle/>
          <a:p>
            <a:pPr algn="r" defTabSz="896386"/>
            <a:r>
              <a:rPr lang="en-US" sz="3529" kern="0" dirty="0">
                <a:solidFill>
                  <a:schemeClr val="accent3"/>
                </a:solidFill>
                <a:latin typeface="Segoe UI Semibold" panose="020B0702040204020203" pitchFamily="34" charset="0"/>
                <a:cs typeface="Segoe UI Semibold" panose="020B0702040204020203" pitchFamily="34" charset="0"/>
              </a:rPr>
              <a:t>HDInsight</a:t>
            </a:r>
            <a:br>
              <a:rPr lang="en-US" sz="3529" kern="0" dirty="0">
                <a:solidFill>
                  <a:schemeClr val="accent3"/>
                </a:solidFill>
                <a:latin typeface="Segoe UI Semibold" panose="020B0702040204020203" pitchFamily="34" charset="0"/>
                <a:cs typeface="Segoe UI Semibold" panose="020B0702040204020203" pitchFamily="34" charset="0"/>
              </a:rPr>
            </a:br>
            <a:r>
              <a:rPr lang="en-US" sz="3529" kern="0" dirty="0">
                <a:solidFill>
                  <a:schemeClr val="accent3"/>
                </a:solidFill>
                <a:latin typeface="Segoe UI Semibold" panose="020B0702040204020203" pitchFamily="34" charset="0"/>
                <a:cs typeface="Segoe UI Semibold" panose="020B0702040204020203" pitchFamily="34" charset="0"/>
              </a:rPr>
              <a:t>cluster</a:t>
            </a:r>
          </a:p>
        </p:txBody>
      </p:sp>
      <p:sp>
        <p:nvSpPr>
          <p:cNvPr id="8" name="TextBox 7"/>
          <p:cNvSpPr txBox="1"/>
          <p:nvPr/>
        </p:nvSpPr>
        <p:spPr>
          <a:xfrm>
            <a:off x="2478765" y="4221405"/>
            <a:ext cx="1939543" cy="756854"/>
          </a:xfrm>
          <a:prstGeom prst="rect">
            <a:avLst/>
          </a:prstGeom>
          <a:solidFill>
            <a:schemeClr val="accent3"/>
          </a:solidFill>
          <a:ln w="25400" cap="flat" cmpd="sng" algn="ctr">
            <a:noFill/>
            <a:prstDash val="solid"/>
            <a:headEnd type="none" w="med" len="med"/>
            <a:tailEnd type="none" w="med" len="med"/>
          </a:ln>
          <a:effectLst/>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defPPr>
              <a:defRPr lang="en-US"/>
            </a:defPPr>
            <a:lvl1pPr algn="ctr" defTabSz="602693" fontAlgn="base">
              <a:spcBef>
                <a:spcPct val="0"/>
              </a:spcBef>
              <a:spcAft>
                <a:spcPct val="0"/>
              </a:spcAft>
              <a:defRPr sz="1400" kern="0">
                <a:solidFill>
                  <a:schemeClr val="bg1"/>
                </a:solidFill>
                <a:ea typeface="Segoe UI" pitchFamily="34" charset="0"/>
                <a:cs typeface="Segoe UI" pitchFamily="34" charset="0"/>
              </a:defRPr>
            </a:lvl1pPr>
          </a:lstStyle>
          <a:p>
            <a:pPr defTabSz="590820"/>
            <a:r>
              <a:rPr lang="en-US" sz="2353" dirty="0">
                <a:latin typeface="Segoe UI Semibold" panose="020B0702040204020203" pitchFamily="34" charset="0"/>
                <a:cs typeface="Segoe UI Semibold" panose="020B0702040204020203" pitchFamily="34" charset="0"/>
              </a:rPr>
              <a:t>REST </a:t>
            </a:r>
          </a:p>
        </p:txBody>
      </p:sp>
      <p:sp>
        <p:nvSpPr>
          <p:cNvPr id="11" name="TextBox 10"/>
          <p:cNvSpPr txBox="1"/>
          <p:nvPr/>
        </p:nvSpPr>
        <p:spPr>
          <a:xfrm>
            <a:off x="455995" y="5126916"/>
            <a:ext cx="2531208" cy="1215465"/>
          </a:xfrm>
          <a:prstGeom prst="rect">
            <a:avLst/>
          </a:prstGeom>
          <a:solidFill>
            <a:schemeClr val="bg1">
              <a:lumMod val="95000"/>
            </a:schemeClr>
          </a:solidFill>
        </p:spPr>
        <p:txBody>
          <a:bodyPr wrap="none" lIns="179285" tIns="44821" rIns="179285" bIns="179285" rtlCol="0" anchor="t">
            <a:noAutofit/>
          </a:bodyPr>
          <a:lstStyle/>
          <a:p>
            <a:pPr algn="ctr" defTabSz="896386"/>
            <a:r>
              <a:rPr lang="en-US" sz="2353" kern="0" dirty="0">
                <a:solidFill>
                  <a:schemeClr val="tx2"/>
                </a:solidFill>
                <a:latin typeface="Segoe UI Semibold" panose="020B0702040204020203" pitchFamily="34" charset="0"/>
                <a:cs typeface="Segoe UI Semibold" panose="020B0702040204020203" pitchFamily="34" charset="0"/>
              </a:rPr>
              <a:t>SDK</a:t>
            </a:r>
          </a:p>
        </p:txBody>
      </p:sp>
      <p:sp>
        <p:nvSpPr>
          <p:cNvPr id="12" name="TextBox 11"/>
          <p:cNvSpPr txBox="1"/>
          <p:nvPr/>
        </p:nvSpPr>
        <p:spPr>
          <a:xfrm>
            <a:off x="575864" y="5543381"/>
            <a:ext cx="2291470" cy="714963"/>
          </a:xfrm>
          <a:prstGeom prst="rect">
            <a:avLst/>
          </a:prstGeom>
          <a:solidFill>
            <a:schemeClr val="accent3"/>
          </a:solidFill>
        </p:spPr>
        <p:txBody>
          <a:bodyPr wrap="square" lIns="89642" tIns="44821" rIns="89642" bIns="44821" rtlCol="0" anchor="ctr">
            <a:noAutofit/>
          </a:bodyPr>
          <a:lstStyle/>
          <a:p>
            <a:pPr algn="ctr" defTabSz="896386"/>
            <a:r>
              <a:rPr lang="en-US" sz="1961" kern="0" dirty="0">
                <a:solidFill>
                  <a:schemeClr val="bg1"/>
                </a:solidFill>
              </a:rPr>
              <a:t>Query console</a:t>
            </a:r>
          </a:p>
          <a:p>
            <a:pPr algn="ctr" defTabSz="896386"/>
            <a:r>
              <a:rPr lang="en-US" sz="1961" kern="0" dirty="0">
                <a:solidFill>
                  <a:schemeClr val="bg1"/>
                </a:solidFill>
              </a:rPr>
              <a:t>PowerShell</a:t>
            </a:r>
          </a:p>
        </p:txBody>
      </p:sp>
      <p:sp>
        <p:nvSpPr>
          <p:cNvPr id="20" name="TextBox 19"/>
          <p:cNvSpPr txBox="1"/>
          <p:nvPr/>
        </p:nvSpPr>
        <p:spPr>
          <a:xfrm>
            <a:off x="3906834" y="5126916"/>
            <a:ext cx="2554592" cy="1215465"/>
          </a:xfrm>
          <a:prstGeom prst="rect">
            <a:avLst/>
          </a:prstGeom>
          <a:solidFill>
            <a:schemeClr val="bg1">
              <a:lumMod val="95000"/>
            </a:schemeClr>
          </a:solidFill>
        </p:spPr>
        <p:txBody>
          <a:bodyPr wrap="none" lIns="179285" tIns="44821" rIns="179285" bIns="179285" rtlCol="0" anchor="t">
            <a:noAutofit/>
          </a:bodyPr>
          <a:lstStyle/>
          <a:p>
            <a:pPr algn="ctr" defTabSz="896386"/>
            <a:r>
              <a:rPr lang="en-US" sz="2353" kern="0" dirty="0">
                <a:solidFill>
                  <a:schemeClr val="tx2"/>
                </a:solidFill>
                <a:latin typeface="Segoe UI Semibold" panose="020B0702040204020203" pitchFamily="34" charset="0"/>
                <a:cs typeface="Segoe UI Semibold" panose="020B0702040204020203" pitchFamily="34" charset="0"/>
              </a:rPr>
              <a:t>ODBC</a:t>
            </a:r>
          </a:p>
        </p:txBody>
      </p:sp>
      <p:sp>
        <p:nvSpPr>
          <p:cNvPr id="24" name="TextBox 23"/>
          <p:cNvSpPr txBox="1"/>
          <p:nvPr/>
        </p:nvSpPr>
        <p:spPr>
          <a:xfrm>
            <a:off x="4036469" y="5543381"/>
            <a:ext cx="2295320" cy="714963"/>
          </a:xfrm>
          <a:prstGeom prst="rect">
            <a:avLst/>
          </a:prstGeom>
          <a:solidFill>
            <a:schemeClr val="accent3"/>
          </a:solidFill>
        </p:spPr>
        <p:txBody>
          <a:bodyPr wrap="square" lIns="89642" tIns="44821" rIns="89642" bIns="44821" rtlCol="0" anchor="ctr">
            <a:noAutofit/>
          </a:bodyPr>
          <a:lstStyle/>
          <a:p>
            <a:pPr algn="ctr" defTabSz="896386"/>
            <a:r>
              <a:rPr lang="en-US" sz="1961" kern="0" dirty="0">
                <a:solidFill>
                  <a:schemeClr val="bg1"/>
                </a:solidFill>
              </a:rPr>
              <a:t>Excel Visual </a:t>
            </a:r>
            <a:br>
              <a:rPr lang="en-US" sz="1961" kern="0" dirty="0">
                <a:solidFill>
                  <a:schemeClr val="bg1"/>
                </a:solidFill>
              </a:rPr>
            </a:br>
            <a:r>
              <a:rPr lang="en-US" sz="1961" kern="0" dirty="0">
                <a:solidFill>
                  <a:schemeClr val="bg1"/>
                </a:solidFill>
              </a:rPr>
              <a:t>Studio plugin</a:t>
            </a:r>
          </a:p>
        </p:txBody>
      </p:sp>
      <p:cxnSp>
        <p:nvCxnSpPr>
          <p:cNvPr id="69" name="Elbow Connector 68"/>
          <p:cNvCxnSpPr>
            <a:stCxn id="11" idx="0"/>
            <a:endCxn id="8" idx="1"/>
          </p:cNvCxnSpPr>
          <p:nvPr/>
        </p:nvCxnSpPr>
        <p:spPr>
          <a:xfrm rot="5400000" flipH="1" flipV="1">
            <a:off x="1836640" y="4484792"/>
            <a:ext cx="527084" cy="757165"/>
          </a:xfrm>
          <a:prstGeom prst="bentConnector2">
            <a:avLst/>
          </a:prstGeom>
          <a:ln>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72" name="Elbow Connector 71"/>
          <p:cNvCxnSpPr/>
          <p:nvPr/>
        </p:nvCxnSpPr>
        <p:spPr>
          <a:xfrm rot="16200000" flipV="1">
            <a:off x="4537678" y="4480463"/>
            <a:ext cx="527084" cy="765823"/>
          </a:xfrm>
          <a:prstGeom prst="bentConnector2">
            <a:avLst/>
          </a:prstGeom>
          <a:ln>
            <a:solidFill>
              <a:schemeClr val="bg1">
                <a:lumMod val="50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95" name="Oval 94"/>
          <p:cNvSpPr/>
          <p:nvPr/>
        </p:nvSpPr>
        <p:spPr bwMode="auto">
          <a:xfrm>
            <a:off x="1658849" y="5051350"/>
            <a:ext cx="125499" cy="122256"/>
          </a:xfrm>
          <a:prstGeom prst="ellipse">
            <a:avLst/>
          </a:prstGeom>
          <a:solidFill>
            <a:schemeClr val="accent3"/>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96" name="Oval 95"/>
          <p:cNvSpPr/>
          <p:nvPr/>
        </p:nvSpPr>
        <p:spPr bwMode="auto">
          <a:xfrm>
            <a:off x="5121379" y="5051350"/>
            <a:ext cx="125499" cy="122256"/>
          </a:xfrm>
          <a:prstGeom prst="ellipse">
            <a:avLst/>
          </a:prstGeom>
          <a:solidFill>
            <a:schemeClr val="accent3"/>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10" name="TextBox 9"/>
          <p:cNvSpPr txBox="1"/>
          <p:nvPr/>
        </p:nvSpPr>
        <p:spPr>
          <a:xfrm>
            <a:off x="6710738" y="4130544"/>
            <a:ext cx="5063132" cy="949684"/>
          </a:xfrm>
          <a:prstGeom prst="rect">
            <a:avLst/>
          </a:prstGeom>
          <a:noFill/>
          <a:ln w="3175">
            <a:solidFill>
              <a:schemeClr val="bg1">
                <a:lumMod val="75000"/>
              </a:schemeClr>
            </a:solidFill>
          </a:ln>
        </p:spPr>
        <p:txBody>
          <a:bodyPr wrap="square" lIns="493034" tIns="44821" rIns="89642" bIns="44821" rtlCol="0" anchor="ctr">
            <a:noAutofit/>
          </a:bodyPr>
          <a:lstStyle/>
          <a:p>
            <a:pPr marL="0" lvl="1" defTabSz="896386" fontAlgn="base">
              <a:spcBef>
                <a:spcPts val="588"/>
              </a:spcBef>
              <a:spcAft>
                <a:spcPts val="588"/>
              </a:spcAft>
              <a:buClr>
                <a:schemeClr val="accent3">
                  <a:lumMod val="50000"/>
                </a:schemeClr>
              </a:buClr>
              <a:tabLst>
                <a:tab pos="645523" algn="l"/>
              </a:tabLst>
            </a:pPr>
            <a:r>
              <a:rPr lang="en-US" sz="2157" kern="0" dirty="0" err="1">
                <a:solidFill>
                  <a:schemeClr val="tx2"/>
                </a:solidFill>
              </a:rPr>
              <a:t>Oozie</a:t>
            </a:r>
            <a:r>
              <a:rPr lang="en-US" sz="2157" kern="0" dirty="0">
                <a:solidFill>
                  <a:schemeClr val="tx2"/>
                </a:solidFill>
              </a:rPr>
              <a:t> </a:t>
            </a:r>
          </a:p>
          <a:p>
            <a:pPr marL="0" lvl="1" defTabSz="896386" fontAlgn="base">
              <a:spcBef>
                <a:spcPts val="588"/>
              </a:spcBef>
              <a:spcAft>
                <a:spcPts val="588"/>
              </a:spcAft>
              <a:buClr>
                <a:schemeClr val="accent3">
                  <a:lumMod val="50000"/>
                </a:schemeClr>
              </a:buClr>
              <a:tabLst>
                <a:tab pos="645523" algn="l"/>
              </a:tabLst>
            </a:pPr>
            <a:r>
              <a:rPr lang="en-US" sz="2157" kern="0" dirty="0">
                <a:solidFill>
                  <a:schemeClr val="tx2"/>
                </a:solidFill>
              </a:rPr>
              <a:t>Command line</a:t>
            </a:r>
          </a:p>
        </p:txBody>
      </p:sp>
      <p:sp>
        <p:nvSpPr>
          <p:cNvPr id="9" name="TextBox 8"/>
          <p:cNvSpPr txBox="1"/>
          <p:nvPr/>
        </p:nvSpPr>
        <p:spPr>
          <a:xfrm>
            <a:off x="6710737" y="3621921"/>
            <a:ext cx="5063133" cy="515311"/>
          </a:xfrm>
          <a:prstGeom prst="rect">
            <a:avLst/>
          </a:prstGeom>
          <a:solidFill>
            <a:schemeClr val="accent3"/>
          </a:solidFill>
          <a:ln w="3175">
            <a:solidFill>
              <a:schemeClr val="accent3"/>
            </a:solidFill>
          </a:ln>
        </p:spPr>
        <p:txBody>
          <a:bodyPr wrap="square" lIns="89642" tIns="44821" rIns="89642" bIns="44821" rtlCol="0" anchor="ctr">
            <a:noAutofit/>
          </a:bodyPr>
          <a:lstStyle/>
          <a:p>
            <a:pPr defTabSz="590820" fontAlgn="base">
              <a:spcBef>
                <a:spcPct val="0"/>
              </a:spcBef>
              <a:spcAft>
                <a:spcPct val="0"/>
              </a:spcAft>
            </a:pPr>
            <a:r>
              <a:rPr lang="en-US" sz="2353" kern="0" dirty="0">
                <a:solidFill>
                  <a:schemeClr val="bg1"/>
                </a:solidFill>
                <a:latin typeface="Segoe UI Semibold" panose="020B0702040204020203" pitchFamily="34" charset="0"/>
                <a:ea typeface="Segoe UI" pitchFamily="34" charset="0"/>
                <a:cs typeface="Segoe UI Semibold" panose="020B0702040204020203" pitchFamily="34" charset="0"/>
              </a:rPr>
              <a:t>Remote desktop</a:t>
            </a:r>
          </a:p>
        </p:txBody>
      </p:sp>
      <p:sp>
        <p:nvSpPr>
          <p:cNvPr id="84" name="Freeform 83"/>
          <p:cNvSpPr>
            <a:spLocks/>
          </p:cNvSpPr>
          <p:nvPr/>
        </p:nvSpPr>
        <p:spPr bwMode="auto">
          <a:xfrm>
            <a:off x="6811797" y="4208971"/>
            <a:ext cx="328225" cy="29466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solidFill>
          <a:ln>
            <a:noFill/>
          </a:ln>
        </p:spPr>
        <p:txBody>
          <a:bodyPr vert="horz" wrap="square" lIns="89642" tIns="44821" rIns="89642" bIns="44821" numCol="1" anchor="t" anchorCtr="0" compatLnSpc="1">
            <a:prstTxWarp prst="textNoShape">
              <a:avLst/>
            </a:prstTxWarp>
          </a:bodyPr>
          <a:lstStyle/>
          <a:p>
            <a:pPr defTabSz="896386"/>
            <a:endParaRPr lang="en-IN" sz="1961" kern="0">
              <a:solidFill>
                <a:srgbClr val="000000"/>
              </a:solidFill>
            </a:endParaRPr>
          </a:p>
        </p:txBody>
      </p:sp>
      <p:sp>
        <p:nvSpPr>
          <p:cNvPr id="85" name="Freeform 84"/>
          <p:cNvSpPr>
            <a:spLocks/>
          </p:cNvSpPr>
          <p:nvPr/>
        </p:nvSpPr>
        <p:spPr bwMode="auto">
          <a:xfrm>
            <a:off x="6774658" y="4714560"/>
            <a:ext cx="328225" cy="294663"/>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solidFill>
          <a:ln>
            <a:noFill/>
          </a:ln>
        </p:spPr>
        <p:txBody>
          <a:bodyPr vert="horz" wrap="square" lIns="89642" tIns="44821" rIns="89642" bIns="44821" numCol="1" anchor="t" anchorCtr="0" compatLnSpc="1">
            <a:prstTxWarp prst="textNoShape">
              <a:avLst/>
            </a:prstTxWarp>
          </a:bodyPr>
          <a:lstStyle/>
          <a:p>
            <a:pPr defTabSz="896386"/>
            <a:endParaRPr lang="en-IN" sz="1961" kern="0">
              <a:solidFill>
                <a:srgbClr val="000000"/>
              </a:solidFill>
            </a:endParaRPr>
          </a:p>
        </p:txBody>
      </p:sp>
      <p:sp>
        <p:nvSpPr>
          <p:cNvPr id="17" name="TextBox 16"/>
          <p:cNvSpPr txBox="1"/>
          <p:nvPr/>
        </p:nvSpPr>
        <p:spPr>
          <a:xfrm>
            <a:off x="6710736" y="5126918"/>
            <a:ext cx="5062518" cy="121546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defPPr>
              <a:defRPr lang="en-US"/>
            </a:defPPr>
            <a:lvl1pPr defTabSz="932133" fontAlgn="base">
              <a:spcBef>
                <a:spcPts val="200"/>
              </a:spcBef>
              <a:spcAft>
                <a:spcPts val="300"/>
              </a:spcAft>
              <a:defRPr sz="2000">
                <a:solidFill>
                  <a:schemeClr val="tx2"/>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367">
              <a:spcBef>
                <a:spcPts val="588"/>
              </a:spcBef>
              <a:spcAft>
                <a:spcPts val="588"/>
              </a:spcAft>
              <a:defRPr/>
            </a:pPr>
            <a:endParaRPr lang="en-US" sz="1961" b="1" kern="0" dirty="0">
              <a:ea typeface="+mn-ea"/>
              <a:cs typeface="+mn-cs"/>
            </a:endParaRPr>
          </a:p>
        </p:txBody>
      </p:sp>
      <p:grpSp>
        <p:nvGrpSpPr>
          <p:cNvPr id="16" name="Group 15"/>
          <p:cNvGrpSpPr/>
          <p:nvPr/>
        </p:nvGrpSpPr>
        <p:grpSpPr>
          <a:xfrm>
            <a:off x="7146498" y="5594281"/>
            <a:ext cx="667602" cy="650137"/>
            <a:chOff x="306837" y="2966952"/>
            <a:chExt cx="1385600" cy="1352860"/>
          </a:xfrm>
        </p:grpSpPr>
        <p:sp>
          <p:nvSpPr>
            <p:cNvPr id="19" name="Freeform 18"/>
            <p:cNvSpPr/>
            <p:nvPr/>
          </p:nvSpPr>
          <p:spPr bwMode="auto">
            <a:xfrm>
              <a:off x="688501" y="3519487"/>
              <a:ext cx="752155" cy="800325"/>
            </a:xfrm>
            <a:custGeom>
              <a:avLst/>
              <a:gdLst>
                <a:gd name="connsiteX0" fmla="*/ 338138 w 728663"/>
                <a:gd name="connsiteY0" fmla="*/ 0 h 823912"/>
                <a:gd name="connsiteX1" fmla="*/ 73819 w 728663"/>
                <a:gd name="connsiteY1" fmla="*/ 97631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35719 w 728663"/>
                <a:gd name="connsiteY1" fmla="*/ 73819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38138 w 728663"/>
                <a:gd name="connsiteY0" fmla="*/ 0 h 823912"/>
                <a:gd name="connsiteX1" fmla="*/ 97631 w 728663"/>
                <a:gd name="connsiteY1" fmla="*/ 66675 h 823912"/>
                <a:gd name="connsiteX2" fmla="*/ 0 w 728663"/>
                <a:gd name="connsiteY2" fmla="*/ 500062 h 823912"/>
                <a:gd name="connsiteX3" fmla="*/ 466725 w 728663"/>
                <a:gd name="connsiteY3" fmla="*/ 823912 h 823912"/>
                <a:gd name="connsiteX4" fmla="*/ 728663 w 728663"/>
                <a:gd name="connsiteY4" fmla="*/ 733425 h 823912"/>
                <a:gd name="connsiteX5" fmla="*/ 492919 w 728663"/>
                <a:gd name="connsiteY5" fmla="*/ 707231 h 823912"/>
                <a:gd name="connsiteX6" fmla="*/ 511969 w 728663"/>
                <a:gd name="connsiteY6" fmla="*/ 621506 h 823912"/>
                <a:gd name="connsiteX7" fmla="*/ 514350 w 728663"/>
                <a:gd name="connsiteY7" fmla="*/ 571500 h 823912"/>
                <a:gd name="connsiteX8" fmla="*/ 366713 w 728663"/>
                <a:gd name="connsiteY8" fmla="*/ 423862 h 823912"/>
                <a:gd name="connsiteX9" fmla="*/ 538163 w 728663"/>
                <a:gd name="connsiteY9" fmla="*/ 528637 h 823912"/>
                <a:gd name="connsiteX10" fmla="*/ 538163 w 728663"/>
                <a:gd name="connsiteY10" fmla="*/ 302418 h 823912"/>
                <a:gd name="connsiteX11" fmla="*/ 373857 w 728663"/>
                <a:gd name="connsiteY11" fmla="*/ 54768 h 823912"/>
                <a:gd name="connsiteX12" fmla="*/ 338138 w 728663"/>
                <a:gd name="connsiteY12" fmla="*/ 0 h 823912"/>
                <a:gd name="connsiteX0" fmla="*/ 321470 w 711995"/>
                <a:gd name="connsiteY0" fmla="*/ 0 h 823912"/>
                <a:gd name="connsiteX1" fmla="*/ 80963 w 711995"/>
                <a:gd name="connsiteY1" fmla="*/ 66675 h 823912"/>
                <a:gd name="connsiteX2" fmla="*/ 0 w 711995"/>
                <a:gd name="connsiteY2" fmla="*/ 497681 h 823912"/>
                <a:gd name="connsiteX3" fmla="*/ 450057 w 711995"/>
                <a:gd name="connsiteY3" fmla="*/ 823912 h 823912"/>
                <a:gd name="connsiteX4" fmla="*/ 711995 w 711995"/>
                <a:gd name="connsiteY4" fmla="*/ 733425 h 823912"/>
                <a:gd name="connsiteX5" fmla="*/ 476251 w 711995"/>
                <a:gd name="connsiteY5" fmla="*/ 707231 h 823912"/>
                <a:gd name="connsiteX6" fmla="*/ 495301 w 711995"/>
                <a:gd name="connsiteY6" fmla="*/ 621506 h 823912"/>
                <a:gd name="connsiteX7" fmla="*/ 497682 w 711995"/>
                <a:gd name="connsiteY7" fmla="*/ 571500 h 823912"/>
                <a:gd name="connsiteX8" fmla="*/ 350045 w 711995"/>
                <a:gd name="connsiteY8" fmla="*/ 423862 h 823912"/>
                <a:gd name="connsiteX9" fmla="*/ 521495 w 711995"/>
                <a:gd name="connsiteY9" fmla="*/ 528637 h 823912"/>
                <a:gd name="connsiteX10" fmla="*/ 521495 w 711995"/>
                <a:gd name="connsiteY10" fmla="*/ 302418 h 823912"/>
                <a:gd name="connsiteX11" fmla="*/ 357189 w 711995"/>
                <a:gd name="connsiteY11" fmla="*/ 54768 h 823912"/>
                <a:gd name="connsiteX12" fmla="*/ 321470 w 711995"/>
                <a:gd name="connsiteY12" fmla="*/ 0 h 823912"/>
                <a:gd name="connsiteX0" fmla="*/ 347343 w 737868"/>
                <a:gd name="connsiteY0" fmla="*/ 0 h 823912"/>
                <a:gd name="connsiteX1" fmla="*/ 106836 w 737868"/>
                <a:gd name="connsiteY1" fmla="*/ 66675 h 823912"/>
                <a:gd name="connsiteX2" fmla="*/ 25873 w 737868"/>
                <a:gd name="connsiteY2" fmla="*/ 497681 h 823912"/>
                <a:gd name="connsiteX3" fmla="*/ 475930 w 737868"/>
                <a:gd name="connsiteY3" fmla="*/ 823912 h 823912"/>
                <a:gd name="connsiteX4" fmla="*/ 737868 w 737868"/>
                <a:gd name="connsiteY4" fmla="*/ 733425 h 823912"/>
                <a:gd name="connsiteX5" fmla="*/ 502124 w 737868"/>
                <a:gd name="connsiteY5" fmla="*/ 707231 h 823912"/>
                <a:gd name="connsiteX6" fmla="*/ 521174 w 737868"/>
                <a:gd name="connsiteY6" fmla="*/ 621506 h 823912"/>
                <a:gd name="connsiteX7" fmla="*/ 523555 w 737868"/>
                <a:gd name="connsiteY7" fmla="*/ 571500 h 823912"/>
                <a:gd name="connsiteX8" fmla="*/ 375918 w 737868"/>
                <a:gd name="connsiteY8" fmla="*/ 423862 h 823912"/>
                <a:gd name="connsiteX9" fmla="*/ 547368 w 737868"/>
                <a:gd name="connsiteY9" fmla="*/ 528637 h 823912"/>
                <a:gd name="connsiteX10" fmla="*/ 547368 w 737868"/>
                <a:gd name="connsiteY10" fmla="*/ 302418 h 823912"/>
                <a:gd name="connsiteX11" fmla="*/ 383062 w 737868"/>
                <a:gd name="connsiteY11" fmla="*/ 54768 h 823912"/>
                <a:gd name="connsiteX12" fmla="*/ 347343 w 737868"/>
                <a:gd name="connsiteY12" fmla="*/ 0 h 823912"/>
                <a:gd name="connsiteX0" fmla="*/ 347343 w 737868"/>
                <a:gd name="connsiteY0" fmla="*/ 0 h 823912"/>
                <a:gd name="connsiteX1" fmla="*/ 106836 w 737868"/>
                <a:gd name="connsiteY1" fmla="*/ 66675 h 823912"/>
                <a:gd name="connsiteX2" fmla="*/ 25873 w 737868"/>
                <a:gd name="connsiteY2" fmla="*/ 497681 h 823912"/>
                <a:gd name="connsiteX3" fmla="*/ 475930 w 737868"/>
                <a:gd name="connsiteY3" fmla="*/ 823912 h 823912"/>
                <a:gd name="connsiteX4" fmla="*/ 737868 w 737868"/>
                <a:gd name="connsiteY4" fmla="*/ 733425 h 823912"/>
                <a:gd name="connsiteX5" fmla="*/ 502124 w 737868"/>
                <a:gd name="connsiteY5" fmla="*/ 707231 h 823912"/>
                <a:gd name="connsiteX6" fmla="*/ 521174 w 737868"/>
                <a:gd name="connsiteY6" fmla="*/ 621506 h 823912"/>
                <a:gd name="connsiteX7" fmla="*/ 523555 w 737868"/>
                <a:gd name="connsiteY7" fmla="*/ 571500 h 823912"/>
                <a:gd name="connsiteX8" fmla="*/ 375918 w 737868"/>
                <a:gd name="connsiteY8" fmla="*/ 423862 h 823912"/>
                <a:gd name="connsiteX9" fmla="*/ 547368 w 737868"/>
                <a:gd name="connsiteY9" fmla="*/ 528637 h 823912"/>
                <a:gd name="connsiteX10" fmla="*/ 547368 w 737868"/>
                <a:gd name="connsiteY10" fmla="*/ 302418 h 823912"/>
                <a:gd name="connsiteX11" fmla="*/ 383062 w 737868"/>
                <a:gd name="connsiteY11" fmla="*/ 54768 h 823912"/>
                <a:gd name="connsiteX12" fmla="*/ 347343 w 737868"/>
                <a:gd name="connsiteY12" fmla="*/ 0 h 823912"/>
                <a:gd name="connsiteX0" fmla="*/ 347343 w 737868"/>
                <a:gd name="connsiteY0" fmla="*/ 0 h 795337"/>
                <a:gd name="connsiteX1" fmla="*/ 106836 w 737868"/>
                <a:gd name="connsiteY1" fmla="*/ 66675 h 795337"/>
                <a:gd name="connsiteX2" fmla="*/ 25873 w 737868"/>
                <a:gd name="connsiteY2" fmla="*/ 497681 h 795337"/>
                <a:gd name="connsiteX3" fmla="*/ 487836 w 737868"/>
                <a:gd name="connsiteY3" fmla="*/ 795337 h 795337"/>
                <a:gd name="connsiteX4" fmla="*/ 737868 w 737868"/>
                <a:gd name="connsiteY4" fmla="*/ 733425 h 795337"/>
                <a:gd name="connsiteX5" fmla="*/ 502124 w 737868"/>
                <a:gd name="connsiteY5" fmla="*/ 707231 h 795337"/>
                <a:gd name="connsiteX6" fmla="*/ 521174 w 737868"/>
                <a:gd name="connsiteY6" fmla="*/ 621506 h 795337"/>
                <a:gd name="connsiteX7" fmla="*/ 523555 w 737868"/>
                <a:gd name="connsiteY7" fmla="*/ 571500 h 795337"/>
                <a:gd name="connsiteX8" fmla="*/ 375918 w 737868"/>
                <a:gd name="connsiteY8" fmla="*/ 423862 h 795337"/>
                <a:gd name="connsiteX9" fmla="*/ 547368 w 737868"/>
                <a:gd name="connsiteY9" fmla="*/ 528637 h 795337"/>
                <a:gd name="connsiteX10" fmla="*/ 547368 w 737868"/>
                <a:gd name="connsiteY10" fmla="*/ 302418 h 795337"/>
                <a:gd name="connsiteX11" fmla="*/ 383062 w 737868"/>
                <a:gd name="connsiteY11" fmla="*/ 54768 h 795337"/>
                <a:gd name="connsiteX12" fmla="*/ 347343 w 737868"/>
                <a:gd name="connsiteY12" fmla="*/ 0 h 795337"/>
                <a:gd name="connsiteX0" fmla="*/ 347343 w 737868"/>
                <a:gd name="connsiteY0" fmla="*/ 0 h 800325"/>
                <a:gd name="connsiteX1" fmla="*/ 106836 w 737868"/>
                <a:gd name="connsiteY1" fmla="*/ 66675 h 800325"/>
                <a:gd name="connsiteX2" fmla="*/ 25873 w 737868"/>
                <a:gd name="connsiteY2" fmla="*/ 497681 h 800325"/>
                <a:gd name="connsiteX3" fmla="*/ 487836 w 737868"/>
                <a:gd name="connsiteY3" fmla="*/ 795337 h 800325"/>
                <a:gd name="connsiteX4" fmla="*/ 737868 w 737868"/>
                <a:gd name="connsiteY4" fmla="*/ 733425 h 800325"/>
                <a:gd name="connsiteX5" fmla="*/ 502124 w 737868"/>
                <a:gd name="connsiteY5" fmla="*/ 707231 h 800325"/>
                <a:gd name="connsiteX6" fmla="*/ 521174 w 737868"/>
                <a:gd name="connsiteY6" fmla="*/ 621506 h 800325"/>
                <a:gd name="connsiteX7" fmla="*/ 523555 w 737868"/>
                <a:gd name="connsiteY7" fmla="*/ 571500 h 800325"/>
                <a:gd name="connsiteX8" fmla="*/ 375918 w 737868"/>
                <a:gd name="connsiteY8" fmla="*/ 423862 h 800325"/>
                <a:gd name="connsiteX9" fmla="*/ 547368 w 737868"/>
                <a:gd name="connsiteY9" fmla="*/ 528637 h 800325"/>
                <a:gd name="connsiteX10" fmla="*/ 547368 w 737868"/>
                <a:gd name="connsiteY10" fmla="*/ 302418 h 800325"/>
                <a:gd name="connsiteX11" fmla="*/ 383062 w 737868"/>
                <a:gd name="connsiteY11" fmla="*/ 54768 h 800325"/>
                <a:gd name="connsiteX12" fmla="*/ 347343 w 737868"/>
                <a:gd name="connsiteY12" fmla="*/ 0 h 800325"/>
                <a:gd name="connsiteX0" fmla="*/ 347343 w 771205"/>
                <a:gd name="connsiteY0" fmla="*/ 0 h 800325"/>
                <a:gd name="connsiteX1" fmla="*/ 106836 w 771205"/>
                <a:gd name="connsiteY1" fmla="*/ 66675 h 800325"/>
                <a:gd name="connsiteX2" fmla="*/ 25873 w 771205"/>
                <a:gd name="connsiteY2" fmla="*/ 497681 h 800325"/>
                <a:gd name="connsiteX3" fmla="*/ 487836 w 771205"/>
                <a:gd name="connsiteY3" fmla="*/ 795337 h 800325"/>
                <a:gd name="connsiteX4" fmla="*/ 771205 w 771205"/>
                <a:gd name="connsiteY4" fmla="*/ 707232 h 800325"/>
                <a:gd name="connsiteX5" fmla="*/ 502124 w 771205"/>
                <a:gd name="connsiteY5" fmla="*/ 707231 h 800325"/>
                <a:gd name="connsiteX6" fmla="*/ 521174 w 771205"/>
                <a:gd name="connsiteY6" fmla="*/ 621506 h 800325"/>
                <a:gd name="connsiteX7" fmla="*/ 523555 w 771205"/>
                <a:gd name="connsiteY7" fmla="*/ 571500 h 800325"/>
                <a:gd name="connsiteX8" fmla="*/ 375918 w 771205"/>
                <a:gd name="connsiteY8" fmla="*/ 423862 h 800325"/>
                <a:gd name="connsiteX9" fmla="*/ 547368 w 771205"/>
                <a:gd name="connsiteY9" fmla="*/ 528637 h 800325"/>
                <a:gd name="connsiteX10" fmla="*/ 547368 w 771205"/>
                <a:gd name="connsiteY10" fmla="*/ 302418 h 800325"/>
                <a:gd name="connsiteX11" fmla="*/ 383062 w 771205"/>
                <a:gd name="connsiteY11" fmla="*/ 54768 h 800325"/>
                <a:gd name="connsiteX12" fmla="*/ 347343 w 771205"/>
                <a:gd name="connsiteY12" fmla="*/ 0 h 800325"/>
                <a:gd name="connsiteX0" fmla="*/ 347343 w 771205"/>
                <a:gd name="connsiteY0" fmla="*/ 0 h 800325"/>
                <a:gd name="connsiteX1" fmla="*/ 106836 w 771205"/>
                <a:gd name="connsiteY1" fmla="*/ 66675 h 800325"/>
                <a:gd name="connsiteX2" fmla="*/ 25873 w 771205"/>
                <a:gd name="connsiteY2" fmla="*/ 497681 h 800325"/>
                <a:gd name="connsiteX3" fmla="*/ 487836 w 771205"/>
                <a:gd name="connsiteY3" fmla="*/ 795337 h 800325"/>
                <a:gd name="connsiteX4" fmla="*/ 771205 w 771205"/>
                <a:gd name="connsiteY4" fmla="*/ 707232 h 800325"/>
                <a:gd name="connsiteX5" fmla="*/ 502124 w 771205"/>
                <a:gd name="connsiteY5" fmla="*/ 707231 h 800325"/>
                <a:gd name="connsiteX6" fmla="*/ 521174 w 771205"/>
                <a:gd name="connsiteY6" fmla="*/ 621506 h 800325"/>
                <a:gd name="connsiteX7" fmla="*/ 523555 w 771205"/>
                <a:gd name="connsiteY7" fmla="*/ 571500 h 800325"/>
                <a:gd name="connsiteX8" fmla="*/ 375918 w 771205"/>
                <a:gd name="connsiteY8" fmla="*/ 423862 h 800325"/>
                <a:gd name="connsiteX9" fmla="*/ 547368 w 771205"/>
                <a:gd name="connsiteY9" fmla="*/ 528637 h 800325"/>
                <a:gd name="connsiteX10" fmla="*/ 547368 w 771205"/>
                <a:gd name="connsiteY10" fmla="*/ 302418 h 800325"/>
                <a:gd name="connsiteX11" fmla="*/ 383062 w 771205"/>
                <a:gd name="connsiteY11" fmla="*/ 54768 h 800325"/>
                <a:gd name="connsiteX12" fmla="*/ 347343 w 77120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502124 w 752155"/>
                <a:gd name="connsiteY5" fmla="*/ 707231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1174 w 752155"/>
                <a:gd name="connsiteY6" fmla="*/ 621506 h 800325"/>
                <a:gd name="connsiteX7" fmla="*/ 523555 w 752155"/>
                <a:gd name="connsiteY7" fmla="*/ 571500 h 800325"/>
                <a:gd name="connsiteX8" fmla="*/ 375918 w 752155"/>
                <a:gd name="connsiteY8" fmla="*/ 423862 h 800325"/>
                <a:gd name="connsiteX9" fmla="*/ 547368 w 752155"/>
                <a:gd name="connsiteY9" fmla="*/ 528637 h 800325"/>
                <a:gd name="connsiteX10" fmla="*/ 547368 w 752155"/>
                <a:gd name="connsiteY10" fmla="*/ 302418 h 800325"/>
                <a:gd name="connsiteX11" fmla="*/ 383062 w 752155"/>
                <a:gd name="connsiteY11" fmla="*/ 54768 h 800325"/>
                <a:gd name="connsiteX12" fmla="*/ 347343 w 752155"/>
                <a:gd name="connsiteY12"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11649 w 752155"/>
                <a:gd name="connsiteY6" fmla="*/ 666751 h 800325"/>
                <a:gd name="connsiteX7" fmla="*/ 521174 w 752155"/>
                <a:gd name="connsiteY7" fmla="*/ 621506 h 800325"/>
                <a:gd name="connsiteX8" fmla="*/ 523555 w 752155"/>
                <a:gd name="connsiteY8" fmla="*/ 571500 h 800325"/>
                <a:gd name="connsiteX9" fmla="*/ 375918 w 752155"/>
                <a:gd name="connsiteY9" fmla="*/ 423862 h 800325"/>
                <a:gd name="connsiteX10" fmla="*/ 547368 w 752155"/>
                <a:gd name="connsiteY10" fmla="*/ 528637 h 800325"/>
                <a:gd name="connsiteX11" fmla="*/ 547368 w 752155"/>
                <a:gd name="connsiteY11" fmla="*/ 302418 h 800325"/>
                <a:gd name="connsiteX12" fmla="*/ 383062 w 752155"/>
                <a:gd name="connsiteY12" fmla="*/ 54768 h 800325"/>
                <a:gd name="connsiteX13" fmla="*/ 347343 w 752155"/>
                <a:gd name="connsiteY13"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521174 w 752155"/>
                <a:gd name="connsiteY7" fmla="*/ 621506 h 800325"/>
                <a:gd name="connsiteX8" fmla="*/ 523555 w 752155"/>
                <a:gd name="connsiteY8" fmla="*/ 571500 h 800325"/>
                <a:gd name="connsiteX9" fmla="*/ 375918 w 752155"/>
                <a:gd name="connsiteY9" fmla="*/ 423862 h 800325"/>
                <a:gd name="connsiteX10" fmla="*/ 547368 w 752155"/>
                <a:gd name="connsiteY10" fmla="*/ 528637 h 800325"/>
                <a:gd name="connsiteX11" fmla="*/ 547368 w 752155"/>
                <a:gd name="connsiteY11" fmla="*/ 302418 h 800325"/>
                <a:gd name="connsiteX12" fmla="*/ 383062 w 752155"/>
                <a:gd name="connsiteY12" fmla="*/ 54768 h 800325"/>
                <a:gd name="connsiteX13" fmla="*/ 347343 w 752155"/>
                <a:gd name="connsiteY13"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528318 w 752155"/>
                <a:gd name="connsiteY7" fmla="*/ 642938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3419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1174 w 752155"/>
                <a:gd name="connsiteY8" fmla="*/ 621506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23555 w 752155"/>
                <a:gd name="connsiteY9" fmla="*/ 571500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47368 w 752155"/>
                <a:gd name="connsiteY9" fmla="*/ 545306 h 800325"/>
                <a:gd name="connsiteX10" fmla="*/ 375918 w 752155"/>
                <a:gd name="connsiteY10" fmla="*/ 423862 h 800325"/>
                <a:gd name="connsiteX11" fmla="*/ 547368 w 752155"/>
                <a:gd name="connsiteY11" fmla="*/ 528637 h 800325"/>
                <a:gd name="connsiteX12" fmla="*/ 547368 w 752155"/>
                <a:gd name="connsiteY12" fmla="*/ 302418 h 800325"/>
                <a:gd name="connsiteX13" fmla="*/ 383062 w 752155"/>
                <a:gd name="connsiteY13" fmla="*/ 54768 h 800325"/>
                <a:gd name="connsiteX14" fmla="*/ 347343 w 752155"/>
                <a:gd name="connsiteY14"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537843 w 752155"/>
                <a:gd name="connsiteY9" fmla="*/ 578644 h 800325"/>
                <a:gd name="connsiteX10" fmla="*/ 547368 w 752155"/>
                <a:gd name="connsiteY10" fmla="*/ 545306 h 800325"/>
                <a:gd name="connsiteX11" fmla="*/ 375918 w 752155"/>
                <a:gd name="connsiteY11" fmla="*/ 423862 h 800325"/>
                <a:gd name="connsiteX12" fmla="*/ 547368 w 752155"/>
                <a:gd name="connsiteY12" fmla="*/ 528637 h 800325"/>
                <a:gd name="connsiteX13" fmla="*/ 547368 w 752155"/>
                <a:gd name="connsiteY13" fmla="*/ 302418 h 800325"/>
                <a:gd name="connsiteX14" fmla="*/ 383062 w 752155"/>
                <a:gd name="connsiteY14" fmla="*/ 54768 h 800325"/>
                <a:gd name="connsiteX15" fmla="*/ 347343 w 752155"/>
                <a:gd name="connsiteY15"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547368 w 752155"/>
                <a:gd name="connsiteY10" fmla="*/ 545306 h 800325"/>
                <a:gd name="connsiteX11" fmla="*/ 375918 w 752155"/>
                <a:gd name="connsiteY11" fmla="*/ 423862 h 800325"/>
                <a:gd name="connsiteX12" fmla="*/ 547368 w 752155"/>
                <a:gd name="connsiteY12" fmla="*/ 528637 h 800325"/>
                <a:gd name="connsiteX13" fmla="*/ 547368 w 752155"/>
                <a:gd name="connsiteY13" fmla="*/ 302418 h 800325"/>
                <a:gd name="connsiteX14" fmla="*/ 383062 w 752155"/>
                <a:gd name="connsiteY14" fmla="*/ 54768 h 800325"/>
                <a:gd name="connsiteX15" fmla="*/ 347343 w 752155"/>
                <a:gd name="connsiteY15"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447355 w 752155"/>
                <a:gd name="connsiteY10" fmla="*/ 552451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1630 w 752155"/>
                <a:gd name="connsiteY9" fmla="*/ 554831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8318 w 752155"/>
                <a:gd name="connsiteY8" fmla="*/ 600074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7824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47368 w 752155"/>
                <a:gd name="connsiteY11" fmla="*/ 545306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75918 w 752155"/>
                <a:gd name="connsiteY12" fmla="*/ 423862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47368 w 752155"/>
                <a:gd name="connsiteY13" fmla="*/ 528637 h 800325"/>
                <a:gd name="connsiteX14" fmla="*/ 547368 w 752155"/>
                <a:gd name="connsiteY14" fmla="*/ 302418 h 800325"/>
                <a:gd name="connsiteX15" fmla="*/ 383062 w 752155"/>
                <a:gd name="connsiteY15" fmla="*/ 54768 h 800325"/>
                <a:gd name="connsiteX16" fmla="*/ 347343 w 752155"/>
                <a:gd name="connsiteY16" fmla="*/ 0 h 800325"/>
                <a:gd name="connsiteX0" fmla="*/ 347343 w 752155"/>
                <a:gd name="connsiteY0" fmla="*/ 0 h 800325"/>
                <a:gd name="connsiteX1" fmla="*/ 106836 w 752155"/>
                <a:gd name="connsiteY1" fmla="*/ 66675 h 800325"/>
                <a:gd name="connsiteX2" fmla="*/ 25873 w 752155"/>
                <a:gd name="connsiteY2" fmla="*/ 497681 h 800325"/>
                <a:gd name="connsiteX3" fmla="*/ 487836 w 752155"/>
                <a:gd name="connsiteY3" fmla="*/ 795337 h 800325"/>
                <a:gd name="connsiteX4" fmla="*/ 752155 w 752155"/>
                <a:gd name="connsiteY4" fmla="*/ 709613 h 800325"/>
                <a:gd name="connsiteX5" fmla="*/ 464024 w 752155"/>
                <a:gd name="connsiteY5" fmla="*/ 695325 h 800325"/>
                <a:gd name="connsiteX6" fmla="*/ 528318 w 752155"/>
                <a:gd name="connsiteY6" fmla="*/ 685800 h 800325"/>
                <a:gd name="connsiteX7" fmla="*/ 387824 w 752155"/>
                <a:gd name="connsiteY7" fmla="*/ 614363 h 800325"/>
                <a:gd name="connsiteX8" fmla="*/ 523555 w 752155"/>
                <a:gd name="connsiteY8" fmla="*/ 607217 h 800325"/>
                <a:gd name="connsiteX9" fmla="*/ 366392 w 752155"/>
                <a:gd name="connsiteY9" fmla="*/ 557212 h 800325"/>
                <a:gd name="connsiteX10" fmla="*/ 383061 w 752155"/>
                <a:gd name="connsiteY10" fmla="*/ 483395 h 800325"/>
                <a:gd name="connsiteX11" fmla="*/ 533080 w 752155"/>
                <a:gd name="connsiteY11" fmla="*/ 559594 h 800325"/>
                <a:gd name="connsiteX12" fmla="*/ 399730 w 752155"/>
                <a:gd name="connsiteY12" fmla="*/ 428624 h 800325"/>
                <a:gd name="connsiteX13" fmla="*/ 533080 w 752155"/>
                <a:gd name="connsiteY13" fmla="*/ 435768 h 800325"/>
                <a:gd name="connsiteX14" fmla="*/ 547368 w 752155"/>
                <a:gd name="connsiteY14" fmla="*/ 302418 h 800325"/>
                <a:gd name="connsiteX15" fmla="*/ 383062 w 752155"/>
                <a:gd name="connsiteY15" fmla="*/ 54768 h 800325"/>
                <a:gd name="connsiteX16" fmla="*/ 347343 w 752155"/>
                <a:gd name="connsiteY16" fmla="*/ 0 h 80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52155" h="800325">
                  <a:moveTo>
                    <a:pt x="347343" y="0"/>
                  </a:moveTo>
                  <a:cubicBezTo>
                    <a:pt x="267174" y="22225"/>
                    <a:pt x="165574" y="11112"/>
                    <a:pt x="106836" y="66675"/>
                  </a:cubicBezTo>
                  <a:cubicBezTo>
                    <a:pt x="-11433" y="199230"/>
                    <a:pt x="-20164" y="298450"/>
                    <a:pt x="25873" y="497681"/>
                  </a:cubicBezTo>
                  <a:cubicBezTo>
                    <a:pt x="106835" y="742156"/>
                    <a:pt x="421161" y="822324"/>
                    <a:pt x="487836" y="795337"/>
                  </a:cubicBezTo>
                  <a:lnTo>
                    <a:pt x="752155" y="709613"/>
                  </a:lnTo>
                  <a:cubicBezTo>
                    <a:pt x="660079" y="719138"/>
                    <a:pt x="534668" y="731044"/>
                    <a:pt x="464024" y="695325"/>
                  </a:cubicBezTo>
                  <a:cubicBezTo>
                    <a:pt x="423940" y="688181"/>
                    <a:pt x="518793" y="698103"/>
                    <a:pt x="528318" y="685800"/>
                  </a:cubicBezTo>
                  <a:cubicBezTo>
                    <a:pt x="539034" y="677069"/>
                    <a:pt x="431878" y="688975"/>
                    <a:pt x="387824" y="614363"/>
                  </a:cubicBezTo>
                  <a:cubicBezTo>
                    <a:pt x="469976" y="611188"/>
                    <a:pt x="524349" y="619123"/>
                    <a:pt x="523555" y="607217"/>
                  </a:cubicBezTo>
                  <a:cubicBezTo>
                    <a:pt x="474343" y="604837"/>
                    <a:pt x="408461" y="600074"/>
                    <a:pt x="366392" y="557212"/>
                  </a:cubicBezTo>
                  <a:lnTo>
                    <a:pt x="383061" y="483395"/>
                  </a:lnTo>
                  <a:cubicBezTo>
                    <a:pt x="425923" y="532607"/>
                    <a:pt x="473550" y="553243"/>
                    <a:pt x="533080" y="559594"/>
                  </a:cubicBezTo>
                  <a:cubicBezTo>
                    <a:pt x="466405" y="540544"/>
                    <a:pt x="418779" y="488155"/>
                    <a:pt x="399730" y="428624"/>
                  </a:cubicBezTo>
                  <a:lnTo>
                    <a:pt x="533080" y="435768"/>
                  </a:lnTo>
                  <a:lnTo>
                    <a:pt x="547368" y="302418"/>
                  </a:lnTo>
                  <a:lnTo>
                    <a:pt x="383062" y="54768"/>
                  </a:lnTo>
                  <a:lnTo>
                    <a:pt x="347343" y="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1961" b="1" kern="0" dirty="0">
                <a:solidFill>
                  <a:schemeClr val="bg1"/>
                </a:solidFill>
                <a:ea typeface="Segoe UI" pitchFamily="34" charset="0"/>
                <a:cs typeface="Segoe UI" pitchFamily="34" charset="0"/>
              </a:endParaRPr>
            </a:p>
          </p:txBody>
        </p:sp>
        <p:grpSp>
          <p:nvGrpSpPr>
            <p:cNvPr id="21" name="Group 20"/>
            <p:cNvGrpSpPr/>
            <p:nvPr/>
          </p:nvGrpSpPr>
          <p:grpSpPr>
            <a:xfrm>
              <a:off x="306837" y="2966952"/>
              <a:ext cx="1385600" cy="1351044"/>
              <a:chOff x="1058398" y="3354141"/>
              <a:chExt cx="533724" cy="520412"/>
            </a:xfrm>
          </p:grpSpPr>
          <p:sp>
            <p:nvSpPr>
              <p:cNvPr id="22" name="Freeform 21"/>
              <p:cNvSpPr/>
              <p:nvPr/>
            </p:nvSpPr>
            <p:spPr bwMode="auto">
              <a:xfrm>
                <a:off x="1058398" y="3354142"/>
                <a:ext cx="533723" cy="415322"/>
              </a:xfrm>
              <a:custGeom>
                <a:avLst/>
                <a:gdLst>
                  <a:gd name="connsiteX0" fmla="*/ 528506 w 533723"/>
                  <a:gd name="connsiteY0" fmla="*/ 291832 h 418083"/>
                  <a:gd name="connsiteX1" fmla="*/ 510121 w 533723"/>
                  <a:gd name="connsiteY1" fmla="*/ 300446 h 418083"/>
                  <a:gd name="connsiteX2" fmla="*/ 500354 w 533723"/>
                  <a:gd name="connsiteY2" fmla="*/ 302312 h 418083"/>
                  <a:gd name="connsiteX3" fmla="*/ 489695 w 533723"/>
                  <a:gd name="connsiteY3" fmla="*/ 299159 h 418083"/>
                  <a:gd name="connsiteX4" fmla="*/ 490953 w 533723"/>
                  <a:gd name="connsiteY4" fmla="*/ 302242 h 418083"/>
                  <a:gd name="connsiteX5" fmla="*/ 490826 w 533723"/>
                  <a:gd name="connsiteY5" fmla="*/ 302554 h 418083"/>
                  <a:gd name="connsiteX6" fmla="*/ 497481 w 533723"/>
                  <a:gd name="connsiteY6" fmla="*/ 306188 h 418083"/>
                  <a:gd name="connsiteX7" fmla="*/ 505812 w 533723"/>
                  <a:gd name="connsiteY7" fmla="*/ 305901 h 418083"/>
                  <a:gd name="connsiteX8" fmla="*/ 523335 w 533723"/>
                  <a:gd name="connsiteY8" fmla="*/ 297575 h 418083"/>
                  <a:gd name="connsiteX9" fmla="*/ 528506 w 533723"/>
                  <a:gd name="connsiteY9" fmla="*/ 291832 h 418083"/>
                  <a:gd name="connsiteX10" fmla="*/ 459095 w 533723"/>
                  <a:gd name="connsiteY10" fmla="*/ 214354 h 418083"/>
                  <a:gd name="connsiteX11" fmla="*/ 470185 w 533723"/>
                  <a:gd name="connsiteY11" fmla="*/ 232917 h 418083"/>
                  <a:gd name="connsiteX12" fmla="*/ 469083 w 533723"/>
                  <a:gd name="connsiteY12" fmla="*/ 236710 h 418083"/>
                  <a:gd name="connsiteX13" fmla="*/ 465107 w 533723"/>
                  <a:gd name="connsiteY13" fmla="*/ 228628 h 418083"/>
                  <a:gd name="connsiteX14" fmla="*/ 462850 w 533723"/>
                  <a:gd name="connsiteY14" fmla="*/ 223907 h 418083"/>
                  <a:gd name="connsiteX15" fmla="*/ 461361 w 533723"/>
                  <a:gd name="connsiteY15" fmla="*/ 220754 h 418083"/>
                  <a:gd name="connsiteX16" fmla="*/ 458921 w 533723"/>
                  <a:gd name="connsiteY16" fmla="*/ 213862 h 418083"/>
                  <a:gd name="connsiteX17" fmla="*/ 459095 w 533723"/>
                  <a:gd name="connsiteY17" fmla="*/ 214354 h 418083"/>
                  <a:gd name="connsiteX18" fmla="*/ 458953 w 533723"/>
                  <a:gd name="connsiteY18" fmla="*/ 214116 h 418083"/>
                  <a:gd name="connsiteX19" fmla="*/ 231642 w 533723"/>
                  <a:gd name="connsiteY19" fmla="*/ 117869 h 418083"/>
                  <a:gd name="connsiteX20" fmla="*/ 245739 w 533723"/>
                  <a:gd name="connsiteY20" fmla="*/ 119960 h 418083"/>
                  <a:gd name="connsiteX21" fmla="*/ 247479 w 533723"/>
                  <a:gd name="connsiteY21" fmla="*/ 117948 h 418083"/>
                  <a:gd name="connsiteX22" fmla="*/ 241439 w 533723"/>
                  <a:gd name="connsiteY22" fmla="*/ 117896 h 418083"/>
                  <a:gd name="connsiteX23" fmla="*/ 231642 w 533723"/>
                  <a:gd name="connsiteY23" fmla="*/ 117869 h 418083"/>
                  <a:gd name="connsiteX24" fmla="*/ 393966 w 533723"/>
                  <a:gd name="connsiteY24" fmla="*/ 59548 h 418083"/>
                  <a:gd name="connsiteX25" fmla="*/ 394760 w 533723"/>
                  <a:gd name="connsiteY25" fmla="*/ 61641 h 418083"/>
                  <a:gd name="connsiteX26" fmla="*/ 396543 w 533723"/>
                  <a:gd name="connsiteY26" fmla="*/ 61922 h 418083"/>
                  <a:gd name="connsiteX27" fmla="*/ 135290 w 533723"/>
                  <a:gd name="connsiteY27" fmla="*/ 95 h 418083"/>
                  <a:gd name="connsiteX28" fmla="*/ 142002 w 533723"/>
                  <a:gd name="connsiteY28" fmla="*/ 118 h 418083"/>
                  <a:gd name="connsiteX29" fmla="*/ 184247 w 533723"/>
                  <a:gd name="connsiteY29" fmla="*/ 9888 h 418083"/>
                  <a:gd name="connsiteX30" fmla="*/ 237411 w 533723"/>
                  <a:gd name="connsiteY30" fmla="*/ 31727 h 418083"/>
                  <a:gd name="connsiteX31" fmla="*/ 273908 w 533723"/>
                  <a:gd name="connsiteY31" fmla="*/ 50693 h 418083"/>
                  <a:gd name="connsiteX32" fmla="*/ 300993 w 533723"/>
                  <a:gd name="connsiteY32" fmla="*/ 65241 h 418083"/>
                  <a:gd name="connsiteX33" fmla="*/ 313770 w 533723"/>
                  <a:gd name="connsiteY33" fmla="*/ 72415 h 418083"/>
                  <a:gd name="connsiteX34" fmla="*/ 317458 w 533723"/>
                  <a:gd name="connsiteY34" fmla="*/ 74704 h 418083"/>
                  <a:gd name="connsiteX35" fmla="*/ 321989 w 533723"/>
                  <a:gd name="connsiteY35" fmla="*/ 77518 h 418083"/>
                  <a:gd name="connsiteX36" fmla="*/ 328509 w 533723"/>
                  <a:gd name="connsiteY36" fmla="*/ 81728 h 418083"/>
                  <a:gd name="connsiteX37" fmla="*/ 329950 w 533723"/>
                  <a:gd name="connsiteY37" fmla="*/ 82770 h 418083"/>
                  <a:gd name="connsiteX38" fmla="*/ 322786 w 533723"/>
                  <a:gd name="connsiteY38" fmla="*/ 67357 h 418083"/>
                  <a:gd name="connsiteX39" fmla="*/ 318179 w 533723"/>
                  <a:gd name="connsiteY39" fmla="*/ 66024 h 418083"/>
                  <a:gd name="connsiteX40" fmla="*/ 315145 w 533723"/>
                  <a:gd name="connsiteY40" fmla="*/ 65146 h 418083"/>
                  <a:gd name="connsiteX41" fmla="*/ 315984 w 533723"/>
                  <a:gd name="connsiteY41" fmla="*/ 64282 h 418083"/>
                  <a:gd name="connsiteX42" fmla="*/ 336115 w 533723"/>
                  <a:gd name="connsiteY42" fmla="*/ 45493 h 418083"/>
                  <a:gd name="connsiteX43" fmla="*/ 339135 w 533723"/>
                  <a:gd name="connsiteY43" fmla="*/ 43303 h 418083"/>
                  <a:gd name="connsiteX44" fmla="*/ 344556 w 533723"/>
                  <a:gd name="connsiteY44" fmla="*/ 40552 h 418083"/>
                  <a:gd name="connsiteX45" fmla="*/ 348957 w 533723"/>
                  <a:gd name="connsiteY45" fmla="*/ 38760 h 418083"/>
                  <a:gd name="connsiteX46" fmla="*/ 368054 w 533723"/>
                  <a:gd name="connsiteY46" fmla="*/ 34807 h 418083"/>
                  <a:gd name="connsiteX47" fmla="*/ 382234 w 533723"/>
                  <a:gd name="connsiteY47" fmla="*/ 37952 h 418083"/>
                  <a:gd name="connsiteX48" fmla="*/ 390275 w 533723"/>
                  <a:gd name="connsiteY48" fmla="*/ 35652 h 418083"/>
                  <a:gd name="connsiteX49" fmla="*/ 390840 w 533723"/>
                  <a:gd name="connsiteY49" fmla="*/ 35749 h 418083"/>
                  <a:gd name="connsiteX50" fmla="*/ 391575 w 533723"/>
                  <a:gd name="connsiteY50" fmla="*/ 35894 h 418083"/>
                  <a:gd name="connsiteX51" fmla="*/ 391750 w 533723"/>
                  <a:gd name="connsiteY51" fmla="*/ 35955 h 418083"/>
                  <a:gd name="connsiteX52" fmla="*/ 392615 w 533723"/>
                  <a:gd name="connsiteY52" fmla="*/ 36327 h 418083"/>
                  <a:gd name="connsiteX53" fmla="*/ 393242 w 533723"/>
                  <a:gd name="connsiteY53" fmla="*/ 36306 h 418083"/>
                  <a:gd name="connsiteX54" fmla="*/ 393406 w 533723"/>
                  <a:gd name="connsiteY54" fmla="*/ 36317 h 418083"/>
                  <a:gd name="connsiteX55" fmla="*/ 397383 w 533723"/>
                  <a:gd name="connsiteY55" fmla="*/ 37341 h 418083"/>
                  <a:gd name="connsiteX56" fmla="*/ 408367 w 533723"/>
                  <a:gd name="connsiteY56" fmla="*/ 43126 h 418083"/>
                  <a:gd name="connsiteX57" fmla="*/ 459773 w 533723"/>
                  <a:gd name="connsiteY57" fmla="*/ 126491 h 418083"/>
                  <a:gd name="connsiteX58" fmla="*/ 441680 w 533723"/>
                  <a:gd name="connsiteY58" fmla="*/ 188008 h 418083"/>
                  <a:gd name="connsiteX59" fmla="*/ 442553 w 533723"/>
                  <a:gd name="connsiteY59" fmla="*/ 192637 h 418083"/>
                  <a:gd name="connsiteX60" fmla="*/ 443081 w 533723"/>
                  <a:gd name="connsiteY60" fmla="*/ 194875 h 418083"/>
                  <a:gd name="connsiteX61" fmla="*/ 451172 w 533723"/>
                  <a:gd name="connsiteY61" fmla="*/ 201092 h 418083"/>
                  <a:gd name="connsiteX62" fmla="*/ 458953 w 533723"/>
                  <a:gd name="connsiteY62" fmla="*/ 214116 h 418083"/>
                  <a:gd name="connsiteX63" fmla="*/ 459209 w 533723"/>
                  <a:gd name="connsiteY63" fmla="*/ 216161 h 418083"/>
                  <a:gd name="connsiteX64" fmla="*/ 460971 w 533723"/>
                  <a:gd name="connsiteY64" fmla="*/ 219929 h 418083"/>
                  <a:gd name="connsiteX65" fmla="*/ 461361 w 533723"/>
                  <a:gd name="connsiteY65" fmla="*/ 220754 h 418083"/>
                  <a:gd name="connsiteX66" fmla="*/ 470303 w 533723"/>
                  <a:gd name="connsiteY66" fmla="*/ 246015 h 418083"/>
                  <a:gd name="connsiteX67" fmla="*/ 469962 w 533723"/>
                  <a:gd name="connsiteY67" fmla="*/ 245448 h 418083"/>
                  <a:gd name="connsiteX68" fmla="*/ 468971 w 533723"/>
                  <a:gd name="connsiteY68" fmla="*/ 243799 h 418083"/>
                  <a:gd name="connsiteX69" fmla="*/ 464115 w 533723"/>
                  <a:gd name="connsiteY69" fmla="*/ 240660 h 418083"/>
                  <a:gd name="connsiteX70" fmla="*/ 457544 w 533723"/>
                  <a:gd name="connsiteY70" fmla="*/ 239804 h 418083"/>
                  <a:gd name="connsiteX71" fmla="*/ 463829 w 533723"/>
                  <a:gd name="connsiteY71" fmla="*/ 242086 h 418083"/>
                  <a:gd name="connsiteX72" fmla="*/ 469895 w 533723"/>
                  <a:gd name="connsiteY72" fmla="*/ 245979 h 418083"/>
                  <a:gd name="connsiteX73" fmla="*/ 470460 w 533723"/>
                  <a:gd name="connsiteY73" fmla="*/ 246460 h 418083"/>
                  <a:gd name="connsiteX74" fmla="*/ 485321 w 533723"/>
                  <a:gd name="connsiteY74" fmla="*/ 288443 h 418083"/>
                  <a:gd name="connsiteX75" fmla="*/ 485666 w 533723"/>
                  <a:gd name="connsiteY75" fmla="*/ 289289 h 418083"/>
                  <a:gd name="connsiteX76" fmla="*/ 485392 w 533723"/>
                  <a:gd name="connsiteY76" fmla="*/ 285754 h 418083"/>
                  <a:gd name="connsiteX77" fmla="*/ 485409 w 533723"/>
                  <a:gd name="connsiteY77" fmla="*/ 284254 h 418083"/>
                  <a:gd name="connsiteX78" fmla="*/ 485552 w 533723"/>
                  <a:gd name="connsiteY78" fmla="*/ 284634 h 418083"/>
                  <a:gd name="connsiteX79" fmla="*/ 487684 w 533723"/>
                  <a:gd name="connsiteY79" fmla="*/ 290297 h 418083"/>
                  <a:gd name="connsiteX80" fmla="*/ 487716 w 533723"/>
                  <a:gd name="connsiteY80" fmla="*/ 290381 h 418083"/>
                  <a:gd name="connsiteX81" fmla="*/ 487709 w 533723"/>
                  <a:gd name="connsiteY81" fmla="*/ 290382 h 418083"/>
                  <a:gd name="connsiteX82" fmla="*/ 486150 w 533723"/>
                  <a:gd name="connsiteY82" fmla="*/ 290474 h 418083"/>
                  <a:gd name="connsiteX83" fmla="*/ 488742 w 533723"/>
                  <a:gd name="connsiteY83" fmla="*/ 296824 h 418083"/>
                  <a:gd name="connsiteX84" fmla="*/ 494320 w 533723"/>
                  <a:gd name="connsiteY84" fmla="*/ 295556 h 418083"/>
                  <a:gd name="connsiteX85" fmla="*/ 512429 w 533723"/>
                  <a:gd name="connsiteY85" fmla="*/ 291820 h 418083"/>
                  <a:gd name="connsiteX86" fmla="*/ 519005 w 533723"/>
                  <a:gd name="connsiteY86" fmla="*/ 287509 h 418083"/>
                  <a:gd name="connsiteX87" fmla="*/ 520508 w 533723"/>
                  <a:gd name="connsiteY87" fmla="*/ 286839 h 418083"/>
                  <a:gd name="connsiteX88" fmla="*/ 522424 w 533723"/>
                  <a:gd name="connsiteY88" fmla="*/ 286502 h 418083"/>
                  <a:gd name="connsiteX89" fmla="*/ 523091 w 533723"/>
                  <a:gd name="connsiteY89" fmla="*/ 286385 h 418083"/>
                  <a:gd name="connsiteX90" fmla="*/ 525364 w 533723"/>
                  <a:gd name="connsiteY90" fmla="*/ 286646 h 418083"/>
                  <a:gd name="connsiteX91" fmla="*/ 533413 w 533723"/>
                  <a:gd name="connsiteY91" fmla="*/ 297855 h 418083"/>
                  <a:gd name="connsiteX92" fmla="*/ 530826 w 533723"/>
                  <a:gd name="connsiteY92" fmla="*/ 316249 h 418083"/>
                  <a:gd name="connsiteX93" fmla="*/ 530588 w 533723"/>
                  <a:gd name="connsiteY93" fmla="*/ 318085 h 418083"/>
                  <a:gd name="connsiteX94" fmla="*/ 530192 w 533723"/>
                  <a:gd name="connsiteY94" fmla="*/ 320320 h 418083"/>
                  <a:gd name="connsiteX95" fmla="*/ 529838 w 533723"/>
                  <a:gd name="connsiteY95" fmla="*/ 321637 h 418083"/>
                  <a:gd name="connsiteX96" fmla="*/ 526883 w 533723"/>
                  <a:gd name="connsiteY96" fmla="*/ 332653 h 418083"/>
                  <a:gd name="connsiteX97" fmla="*/ 524435 w 533723"/>
                  <a:gd name="connsiteY97" fmla="*/ 341781 h 418083"/>
                  <a:gd name="connsiteX98" fmla="*/ 519934 w 533723"/>
                  <a:gd name="connsiteY98" fmla="*/ 353045 h 418083"/>
                  <a:gd name="connsiteX99" fmla="*/ 493458 w 533723"/>
                  <a:gd name="connsiteY99" fmla="*/ 392987 h 418083"/>
                  <a:gd name="connsiteX100" fmla="*/ 421143 w 533723"/>
                  <a:gd name="connsiteY100" fmla="*/ 403455 h 418083"/>
                  <a:gd name="connsiteX101" fmla="*/ 416615 w 533723"/>
                  <a:gd name="connsiteY101" fmla="*/ 401105 h 418083"/>
                  <a:gd name="connsiteX102" fmla="*/ 415306 w 533723"/>
                  <a:gd name="connsiteY102" fmla="*/ 404311 h 418083"/>
                  <a:gd name="connsiteX103" fmla="*/ 382546 w 533723"/>
                  <a:gd name="connsiteY103" fmla="*/ 418083 h 418083"/>
                  <a:gd name="connsiteX104" fmla="*/ 364512 w 533723"/>
                  <a:gd name="connsiteY104" fmla="*/ 414388 h 418083"/>
                  <a:gd name="connsiteX105" fmla="*/ 362260 w 533723"/>
                  <a:gd name="connsiteY105" fmla="*/ 412847 h 418083"/>
                  <a:gd name="connsiteX106" fmla="*/ 359508 w 533723"/>
                  <a:gd name="connsiteY106" fmla="*/ 412530 h 418083"/>
                  <a:gd name="connsiteX107" fmla="*/ 354180 w 533723"/>
                  <a:gd name="connsiteY107" fmla="*/ 409493 h 418083"/>
                  <a:gd name="connsiteX108" fmla="*/ 351263 w 533723"/>
                  <a:gd name="connsiteY108" fmla="*/ 406931 h 418083"/>
                  <a:gd name="connsiteX109" fmla="*/ 351015 w 533723"/>
                  <a:gd name="connsiteY109" fmla="*/ 406713 h 418083"/>
                  <a:gd name="connsiteX110" fmla="*/ 348397 w 533723"/>
                  <a:gd name="connsiteY110" fmla="*/ 403432 h 418083"/>
                  <a:gd name="connsiteX111" fmla="*/ 347445 w 533723"/>
                  <a:gd name="connsiteY111" fmla="*/ 401927 h 418083"/>
                  <a:gd name="connsiteX112" fmla="*/ 345319 w 533723"/>
                  <a:gd name="connsiteY112" fmla="*/ 397536 h 418083"/>
                  <a:gd name="connsiteX113" fmla="*/ 344561 w 533723"/>
                  <a:gd name="connsiteY113" fmla="*/ 395286 h 418083"/>
                  <a:gd name="connsiteX114" fmla="*/ 335650 w 533723"/>
                  <a:gd name="connsiteY114" fmla="*/ 375455 h 418083"/>
                  <a:gd name="connsiteX115" fmla="*/ 322714 w 533723"/>
                  <a:gd name="connsiteY115" fmla="*/ 362234 h 418083"/>
                  <a:gd name="connsiteX116" fmla="*/ 319648 w 533723"/>
                  <a:gd name="connsiteY116" fmla="*/ 358159 h 418083"/>
                  <a:gd name="connsiteX117" fmla="*/ 319434 w 533723"/>
                  <a:gd name="connsiteY117" fmla="*/ 357823 h 418083"/>
                  <a:gd name="connsiteX118" fmla="*/ 314734 w 533723"/>
                  <a:gd name="connsiteY118" fmla="*/ 350455 h 418083"/>
                  <a:gd name="connsiteX119" fmla="*/ 319052 w 533723"/>
                  <a:gd name="connsiteY119" fmla="*/ 316733 h 418083"/>
                  <a:gd name="connsiteX120" fmla="*/ 323333 w 533723"/>
                  <a:gd name="connsiteY120" fmla="*/ 310656 h 418083"/>
                  <a:gd name="connsiteX121" fmla="*/ 320679 w 533723"/>
                  <a:gd name="connsiteY121" fmla="*/ 310837 h 418083"/>
                  <a:gd name="connsiteX122" fmla="*/ 316984 w 533723"/>
                  <a:gd name="connsiteY122" fmla="*/ 309959 h 418083"/>
                  <a:gd name="connsiteX123" fmla="*/ 278469 w 533723"/>
                  <a:gd name="connsiteY123" fmla="*/ 281787 h 418083"/>
                  <a:gd name="connsiteX124" fmla="*/ 279196 w 533723"/>
                  <a:gd name="connsiteY124" fmla="*/ 221148 h 418083"/>
                  <a:gd name="connsiteX125" fmla="*/ 281137 w 533723"/>
                  <a:gd name="connsiteY125" fmla="*/ 212759 h 418083"/>
                  <a:gd name="connsiteX126" fmla="*/ 280817 w 533723"/>
                  <a:gd name="connsiteY126" fmla="*/ 212855 h 418083"/>
                  <a:gd name="connsiteX127" fmla="*/ 280074 w 533723"/>
                  <a:gd name="connsiteY127" fmla="*/ 213019 h 418083"/>
                  <a:gd name="connsiteX128" fmla="*/ 208386 w 533723"/>
                  <a:gd name="connsiteY128" fmla="*/ 230868 h 418083"/>
                  <a:gd name="connsiteX129" fmla="*/ 129358 w 533723"/>
                  <a:gd name="connsiteY129" fmla="*/ 256155 h 418083"/>
                  <a:gd name="connsiteX130" fmla="*/ 76481 w 533723"/>
                  <a:gd name="connsiteY130" fmla="*/ 253856 h 418083"/>
                  <a:gd name="connsiteX131" fmla="*/ 56365 w 533723"/>
                  <a:gd name="connsiteY131" fmla="*/ 204718 h 418083"/>
                  <a:gd name="connsiteX132" fmla="*/ 6361 w 533723"/>
                  <a:gd name="connsiteY132" fmla="*/ 145234 h 418083"/>
                  <a:gd name="connsiteX133" fmla="*/ 4924 w 533723"/>
                  <a:gd name="connsiteY133" fmla="*/ 90923 h 418083"/>
                  <a:gd name="connsiteX134" fmla="*/ 26190 w 533723"/>
                  <a:gd name="connsiteY134" fmla="*/ 62762 h 418083"/>
                  <a:gd name="connsiteX135" fmla="*/ 51192 w 533723"/>
                  <a:gd name="connsiteY135" fmla="*/ 63624 h 418083"/>
                  <a:gd name="connsiteX136" fmla="*/ 92574 w 533723"/>
                  <a:gd name="connsiteY136" fmla="*/ 72245 h 418083"/>
                  <a:gd name="connsiteX137" fmla="*/ 148899 w 533723"/>
                  <a:gd name="connsiteY137" fmla="*/ 97533 h 418083"/>
                  <a:gd name="connsiteX138" fmla="*/ 100620 w 533723"/>
                  <a:gd name="connsiteY138" fmla="*/ 70233 h 418083"/>
                  <a:gd name="connsiteX139" fmla="*/ 68722 w 533723"/>
                  <a:gd name="connsiteY139" fmla="*/ 57877 h 418083"/>
                  <a:gd name="connsiteX140" fmla="*/ 95735 w 533723"/>
                  <a:gd name="connsiteY140" fmla="*/ 33739 h 418083"/>
                  <a:gd name="connsiteX141" fmla="*/ 118438 w 533723"/>
                  <a:gd name="connsiteY141" fmla="*/ 6440 h 418083"/>
                  <a:gd name="connsiteX142" fmla="*/ 135290 w 533723"/>
                  <a:gd name="connsiteY142" fmla="*/ 95 h 418083"/>
                  <a:gd name="connsiteX0" fmla="*/ 528506 w 533723"/>
                  <a:gd name="connsiteY0" fmla="*/ 291832 h 419386"/>
                  <a:gd name="connsiteX1" fmla="*/ 510121 w 533723"/>
                  <a:gd name="connsiteY1" fmla="*/ 300446 h 419386"/>
                  <a:gd name="connsiteX2" fmla="*/ 500354 w 533723"/>
                  <a:gd name="connsiteY2" fmla="*/ 302312 h 419386"/>
                  <a:gd name="connsiteX3" fmla="*/ 489695 w 533723"/>
                  <a:gd name="connsiteY3" fmla="*/ 299159 h 419386"/>
                  <a:gd name="connsiteX4" fmla="*/ 490953 w 533723"/>
                  <a:gd name="connsiteY4" fmla="*/ 302242 h 419386"/>
                  <a:gd name="connsiteX5" fmla="*/ 490826 w 533723"/>
                  <a:gd name="connsiteY5" fmla="*/ 302554 h 419386"/>
                  <a:gd name="connsiteX6" fmla="*/ 497481 w 533723"/>
                  <a:gd name="connsiteY6" fmla="*/ 306188 h 419386"/>
                  <a:gd name="connsiteX7" fmla="*/ 505812 w 533723"/>
                  <a:gd name="connsiteY7" fmla="*/ 305901 h 419386"/>
                  <a:gd name="connsiteX8" fmla="*/ 523335 w 533723"/>
                  <a:gd name="connsiteY8" fmla="*/ 297575 h 419386"/>
                  <a:gd name="connsiteX9" fmla="*/ 528506 w 533723"/>
                  <a:gd name="connsiteY9" fmla="*/ 291832 h 419386"/>
                  <a:gd name="connsiteX10" fmla="*/ 459095 w 533723"/>
                  <a:gd name="connsiteY10" fmla="*/ 214354 h 419386"/>
                  <a:gd name="connsiteX11" fmla="*/ 470185 w 533723"/>
                  <a:gd name="connsiteY11" fmla="*/ 232917 h 419386"/>
                  <a:gd name="connsiteX12" fmla="*/ 469083 w 533723"/>
                  <a:gd name="connsiteY12" fmla="*/ 236710 h 419386"/>
                  <a:gd name="connsiteX13" fmla="*/ 465107 w 533723"/>
                  <a:gd name="connsiteY13" fmla="*/ 228628 h 419386"/>
                  <a:gd name="connsiteX14" fmla="*/ 462850 w 533723"/>
                  <a:gd name="connsiteY14" fmla="*/ 223907 h 419386"/>
                  <a:gd name="connsiteX15" fmla="*/ 461361 w 533723"/>
                  <a:gd name="connsiteY15" fmla="*/ 220754 h 419386"/>
                  <a:gd name="connsiteX16" fmla="*/ 459095 w 533723"/>
                  <a:gd name="connsiteY16" fmla="*/ 214354 h 419386"/>
                  <a:gd name="connsiteX17" fmla="*/ 458921 w 533723"/>
                  <a:gd name="connsiteY17" fmla="*/ 213862 h 419386"/>
                  <a:gd name="connsiteX18" fmla="*/ 459095 w 533723"/>
                  <a:gd name="connsiteY18" fmla="*/ 214354 h 419386"/>
                  <a:gd name="connsiteX19" fmla="*/ 458953 w 533723"/>
                  <a:gd name="connsiteY19" fmla="*/ 214116 h 419386"/>
                  <a:gd name="connsiteX20" fmla="*/ 458921 w 533723"/>
                  <a:gd name="connsiteY20" fmla="*/ 213862 h 419386"/>
                  <a:gd name="connsiteX21" fmla="*/ 231642 w 533723"/>
                  <a:gd name="connsiteY21" fmla="*/ 117869 h 419386"/>
                  <a:gd name="connsiteX22" fmla="*/ 245739 w 533723"/>
                  <a:gd name="connsiteY22" fmla="*/ 119960 h 419386"/>
                  <a:gd name="connsiteX23" fmla="*/ 247479 w 533723"/>
                  <a:gd name="connsiteY23" fmla="*/ 117948 h 419386"/>
                  <a:gd name="connsiteX24" fmla="*/ 241439 w 533723"/>
                  <a:gd name="connsiteY24" fmla="*/ 117896 h 419386"/>
                  <a:gd name="connsiteX25" fmla="*/ 231642 w 533723"/>
                  <a:gd name="connsiteY25" fmla="*/ 117869 h 419386"/>
                  <a:gd name="connsiteX26" fmla="*/ 393966 w 533723"/>
                  <a:gd name="connsiteY26" fmla="*/ 59548 h 419386"/>
                  <a:gd name="connsiteX27" fmla="*/ 394760 w 533723"/>
                  <a:gd name="connsiteY27" fmla="*/ 61641 h 419386"/>
                  <a:gd name="connsiteX28" fmla="*/ 396543 w 533723"/>
                  <a:gd name="connsiteY28" fmla="*/ 61922 h 419386"/>
                  <a:gd name="connsiteX29" fmla="*/ 393966 w 533723"/>
                  <a:gd name="connsiteY29" fmla="*/ 59548 h 419386"/>
                  <a:gd name="connsiteX30" fmla="*/ 135290 w 533723"/>
                  <a:gd name="connsiteY30" fmla="*/ 95 h 419386"/>
                  <a:gd name="connsiteX31" fmla="*/ 142002 w 533723"/>
                  <a:gd name="connsiteY31" fmla="*/ 118 h 419386"/>
                  <a:gd name="connsiteX32" fmla="*/ 184247 w 533723"/>
                  <a:gd name="connsiteY32" fmla="*/ 9888 h 419386"/>
                  <a:gd name="connsiteX33" fmla="*/ 237411 w 533723"/>
                  <a:gd name="connsiteY33" fmla="*/ 31727 h 419386"/>
                  <a:gd name="connsiteX34" fmla="*/ 273908 w 533723"/>
                  <a:gd name="connsiteY34" fmla="*/ 50693 h 419386"/>
                  <a:gd name="connsiteX35" fmla="*/ 300993 w 533723"/>
                  <a:gd name="connsiteY35" fmla="*/ 65241 h 419386"/>
                  <a:gd name="connsiteX36" fmla="*/ 313770 w 533723"/>
                  <a:gd name="connsiteY36" fmla="*/ 72415 h 419386"/>
                  <a:gd name="connsiteX37" fmla="*/ 317458 w 533723"/>
                  <a:gd name="connsiteY37" fmla="*/ 74704 h 419386"/>
                  <a:gd name="connsiteX38" fmla="*/ 321989 w 533723"/>
                  <a:gd name="connsiteY38" fmla="*/ 77518 h 419386"/>
                  <a:gd name="connsiteX39" fmla="*/ 328509 w 533723"/>
                  <a:gd name="connsiteY39" fmla="*/ 81728 h 419386"/>
                  <a:gd name="connsiteX40" fmla="*/ 329950 w 533723"/>
                  <a:gd name="connsiteY40" fmla="*/ 82770 h 419386"/>
                  <a:gd name="connsiteX41" fmla="*/ 322786 w 533723"/>
                  <a:gd name="connsiteY41" fmla="*/ 67357 h 419386"/>
                  <a:gd name="connsiteX42" fmla="*/ 318179 w 533723"/>
                  <a:gd name="connsiteY42" fmla="*/ 66024 h 419386"/>
                  <a:gd name="connsiteX43" fmla="*/ 315145 w 533723"/>
                  <a:gd name="connsiteY43" fmla="*/ 65146 h 419386"/>
                  <a:gd name="connsiteX44" fmla="*/ 315984 w 533723"/>
                  <a:gd name="connsiteY44" fmla="*/ 64282 h 419386"/>
                  <a:gd name="connsiteX45" fmla="*/ 336115 w 533723"/>
                  <a:gd name="connsiteY45" fmla="*/ 45493 h 419386"/>
                  <a:gd name="connsiteX46" fmla="*/ 339135 w 533723"/>
                  <a:gd name="connsiteY46" fmla="*/ 43303 h 419386"/>
                  <a:gd name="connsiteX47" fmla="*/ 344556 w 533723"/>
                  <a:gd name="connsiteY47" fmla="*/ 40552 h 419386"/>
                  <a:gd name="connsiteX48" fmla="*/ 348957 w 533723"/>
                  <a:gd name="connsiteY48" fmla="*/ 38760 h 419386"/>
                  <a:gd name="connsiteX49" fmla="*/ 368054 w 533723"/>
                  <a:gd name="connsiteY49" fmla="*/ 34807 h 419386"/>
                  <a:gd name="connsiteX50" fmla="*/ 382234 w 533723"/>
                  <a:gd name="connsiteY50" fmla="*/ 37952 h 419386"/>
                  <a:gd name="connsiteX51" fmla="*/ 390275 w 533723"/>
                  <a:gd name="connsiteY51" fmla="*/ 35652 h 419386"/>
                  <a:gd name="connsiteX52" fmla="*/ 390840 w 533723"/>
                  <a:gd name="connsiteY52" fmla="*/ 35749 h 419386"/>
                  <a:gd name="connsiteX53" fmla="*/ 391575 w 533723"/>
                  <a:gd name="connsiteY53" fmla="*/ 35894 h 419386"/>
                  <a:gd name="connsiteX54" fmla="*/ 391750 w 533723"/>
                  <a:gd name="connsiteY54" fmla="*/ 35955 h 419386"/>
                  <a:gd name="connsiteX55" fmla="*/ 392615 w 533723"/>
                  <a:gd name="connsiteY55" fmla="*/ 36327 h 419386"/>
                  <a:gd name="connsiteX56" fmla="*/ 393242 w 533723"/>
                  <a:gd name="connsiteY56" fmla="*/ 36306 h 419386"/>
                  <a:gd name="connsiteX57" fmla="*/ 393406 w 533723"/>
                  <a:gd name="connsiteY57" fmla="*/ 36317 h 419386"/>
                  <a:gd name="connsiteX58" fmla="*/ 397383 w 533723"/>
                  <a:gd name="connsiteY58" fmla="*/ 37341 h 419386"/>
                  <a:gd name="connsiteX59" fmla="*/ 408367 w 533723"/>
                  <a:gd name="connsiteY59" fmla="*/ 43126 h 419386"/>
                  <a:gd name="connsiteX60" fmla="*/ 459773 w 533723"/>
                  <a:gd name="connsiteY60" fmla="*/ 126491 h 419386"/>
                  <a:gd name="connsiteX61" fmla="*/ 441680 w 533723"/>
                  <a:gd name="connsiteY61" fmla="*/ 188008 h 419386"/>
                  <a:gd name="connsiteX62" fmla="*/ 442553 w 533723"/>
                  <a:gd name="connsiteY62" fmla="*/ 192637 h 419386"/>
                  <a:gd name="connsiteX63" fmla="*/ 443081 w 533723"/>
                  <a:gd name="connsiteY63" fmla="*/ 194875 h 419386"/>
                  <a:gd name="connsiteX64" fmla="*/ 451172 w 533723"/>
                  <a:gd name="connsiteY64" fmla="*/ 201092 h 419386"/>
                  <a:gd name="connsiteX65" fmla="*/ 458953 w 533723"/>
                  <a:gd name="connsiteY65" fmla="*/ 214116 h 419386"/>
                  <a:gd name="connsiteX66" fmla="*/ 459209 w 533723"/>
                  <a:gd name="connsiteY66" fmla="*/ 216161 h 419386"/>
                  <a:gd name="connsiteX67" fmla="*/ 460971 w 533723"/>
                  <a:gd name="connsiteY67" fmla="*/ 219929 h 419386"/>
                  <a:gd name="connsiteX68" fmla="*/ 461361 w 533723"/>
                  <a:gd name="connsiteY68" fmla="*/ 220754 h 419386"/>
                  <a:gd name="connsiteX69" fmla="*/ 470303 w 533723"/>
                  <a:gd name="connsiteY69" fmla="*/ 246015 h 419386"/>
                  <a:gd name="connsiteX70" fmla="*/ 469962 w 533723"/>
                  <a:gd name="connsiteY70" fmla="*/ 245448 h 419386"/>
                  <a:gd name="connsiteX71" fmla="*/ 468971 w 533723"/>
                  <a:gd name="connsiteY71" fmla="*/ 243799 h 419386"/>
                  <a:gd name="connsiteX72" fmla="*/ 464115 w 533723"/>
                  <a:gd name="connsiteY72" fmla="*/ 240660 h 419386"/>
                  <a:gd name="connsiteX73" fmla="*/ 457544 w 533723"/>
                  <a:gd name="connsiteY73" fmla="*/ 239804 h 419386"/>
                  <a:gd name="connsiteX74" fmla="*/ 463829 w 533723"/>
                  <a:gd name="connsiteY74" fmla="*/ 242086 h 419386"/>
                  <a:gd name="connsiteX75" fmla="*/ 469895 w 533723"/>
                  <a:gd name="connsiteY75" fmla="*/ 245979 h 419386"/>
                  <a:gd name="connsiteX76" fmla="*/ 470460 w 533723"/>
                  <a:gd name="connsiteY76" fmla="*/ 246460 h 419386"/>
                  <a:gd name="connsiteX77" fmla="*/ 485321 w 533723"/>
                  <a:gd name="connsiteY77" fmla="*/ 288443 h 419386"/>
                  <a:gd name="connsiteX78" fmla="*/ 485666 w 533723"/>
                  <a:gd name="connsiteY78" fmla="*/ 289289 h 419386"/>
                  <a:gd name="connsiteX79" fmla="*/ 485392 w 533723"/>
                  <a:gd name="connsiteY79" fmla="*/ 285754 h 419386"/>
                  <a:gd name="connsiteX80" fmla="*/ 485409 w 533723"/>
                  <a:gd name="connsiteY80" fmla="*/ 284254 h 419386"/>
                  <a:gd name="connsiteX81" fmla="*/ 485552 w 533723"/>
                  <a:gd name="connsiteY81" fmla="*/ 284634 h 419386"/>
                  <a:gd name="connsiteX82" fmla="*/ 487684 w 533723"/>
                  <a:gd name="connsiteY82" fmla="*/ 290297 h 419386"/>
                  <a:gd name="connsiteX83" fmla="*/ 487716 w 533723"/>
                  <a:gd name="connsiteY83" fmla="*/ 290381 h 419386"/>
                  <a:gd name="connsiteX84" fmla="*/ 487709 w 533723"/>
                  <a:gd name="connsiteY84" fmla="*/ 290382 h 419386"/>
                  <a:gd name="connsiteX85" fmla="*/ 486150 w 533723"/>
                  <a:gd name="connsiteY85" fmla="*/ 290474 h 419386"/>
                  <a:gd name="connsiteX86" fmla="*/ 488742 w 533723"/>
                  <a:gd name="connsiteY86" fmla="*/ 296824 h 419386"/>
                  <a:gd name="connsiteX87" fmla="*/ 494320 w 533723"/>
                  <a:gd name="connsiteY87" fmla="*/ 295556 h 419386"/>
                  <a:gd name="connsiteX88" fmla="*/ 512429 w 533723"/>
                  <a:gd name="connsiteY88" fmla="*/ 291820 h 419386"/>
                  <a:gd name="connsiteX89" fmla="*/ 519005 w 533723"/>
                  <a:gd name="connsiteY89" fmla="*/ 287509 h 419386"/>
                  <a:gd name="connsiteX90" fmla="*/ 520508 w 533723"/>
                  <a:gd name="connsiteY90" fmla="*/ 286839 h 419386"/>
                  <a:gd name="connsiteX91" fmla="*/ 522424 w 533723"/>
                  <a:gd name="connsiteY91" fmla="*/ 286502 h 419386"/>
                  <a:gd name="connsiteX92" fmla="*/ 523091 w 533723"/>
                  <a:gd name="connsiteY92" fmla="*/ 286385 h 419386"/>
                  <a:gd name="connsiteX93" fmla="*/ 525364 w 533723"/>
                  <a:gd name="connsiteY93" fmla="*/ 286646 h 419386"/>
                  <a:gd name="connsiteX94" fmla="*/ 533413 w 533723"/>
                  <a:gd name="connsiteY94" fmla="*/ 297855 h 419386"/>
                  <a:gd name="connsiteX95" fmla="*/ 530826 w 533723"/>
                  <a:gd name="connsiteY95" fmla="*/ 316249 h 419386"/>
                  <a:gd name="connsiteX96" fmla="*/ 530588 w 533723"/>
                  <a:gd name="connsiteY96" fmla="*/ 318085 h 419386"/>
                  <a:gd name="connsiteX97" fmla="*/ 530192 w 533723"/>
                  <a:gd name="connsiteY97" fmla="*/ 320320 h 419386"/>
                  <a:gd name="connsiteX98" fmla="*/ 529838 w 533723"/>
                  <a:gd name="connsiteY98" fmla="*/ 321637 h 419386"/>
                  <a:gd name="connsiteX99" fmla="*/ 526883 w 533723"/>
                  <a:gd name="connsiteY99" fmla="*/ 332653 h 419386"/>
                  <a:gd name="connsiteX100" fmla="*/ 524435 w 533723"/>
                  <a:gd name="connsiteY100" fmla="*/ 341781 h 419386"/>
                  <a:gd name="connsiteX101" fmla="*/ 519934 w 533723"/>
                  <a:gd name="connsiteY101" fmla="*/ 353045 h 419386"/>
                  <a:gd name="connsiteX102" fmla="*/ 493458 w 533723"/>
                  <a:gd name="connsiteY102" fmla="*/ 392987 h 419386"/>
                  <a:gd name="connsiteX103" fmla="*/ 421143 w 533723"/>
                  <a:gd name="connsiteY103" fmla="*/ 403455 h 419386"/>
                  <a:gd name="connsiteX104" fmla="*/ 416615 w 533723"/>
                  <a:gd name="connsiteY104" fmla="*/ 401105 h 419386"/>
                  <a:gd name="connsiteX105" fmla="*/ 401019 w 533723"/>
                  <a:gd name="connsiteY105" fmla="*/ 392405 h 419386"/>
                  <a:gd name="connsiteX106" fmla="*/ 382546 w 533723"/>
                  <a:gd name="connsiteY106" fmla="*/ 418083 h 419386"/>
                  <a:gd name="connsiteX107" fmla="*/ 364512 w 533723"/>
                  <a:gd name="connsiteY107" fmla="*/ 414388 h 419386"/>
                  <a:gd name="connsiteX108" fmla="*/ 362260 w 533723"/>
                  <a:gd name="connsiteY108" fmla="*/ 412847 h 419386"/>
                  <a:gd name="connsiteX109" fmla="*/ 359508 w 533723"/>
                  <a:gd name="connsiteY109" fmla="*/ 412530 h 419386"/>
                  <a:gd name="connsiteX110" fmla="*/ 354180 w 533723"/>
                  <a:gd name="connsiteY110" fmla="*/ 409493 h 419386"/>
                  <a:gd name="connsiteX111" fmla="*/ 351263 w 533723"/>
                  <a:gd name="connsiteY111" fmla="*/ 406931 h 419386"/>
                  <a:gd name="connsiteX112" fmla="*/ 351015 w 533723"/>
                  <a:gd name="connsiteY112" fmla="*/ 406713 h 419386"/>
                  <a:gd name="connsiteX113" fmla="*/ 348397 w 533723"/>
                  <a:gd name="connsiteY113" fmla="*/ 403432 h 419386"/>
                  <a:gd name="connsiteX114" fmla="*/ 347445 w 533723"/>
                  <a:gd name="connsiteY114" fmla="*/ 401927 h 419386"/>
                  <a:gd name="connsiteX115" fmla="*/ 345319 w 533723"/>
                  <a:gd name="connsiteY115" fmla="*/ 397536 h 419386"/>
                  <a:gd name="connsiteX116" fmla="*/ 344561 w 533723"/>
                  <a:gd name="connsiteY116" fmla="*/ 395286 h 419386"/>
                  <a:gd name="connsiteX117" fmla="*/ 335650 w 533723"/>
                  <a:gd name="connsiteY117" fmla="*/ 375455 h 419386"/>
                  <a:gd name="connsiteX118" fmla="*/ 322714 w 533723"/>
                  <a:gd name="connsiteY118" fmla="*/ 362234 h 419386"/>
                  <a:gd name="connsiteX119" fmla="*/ 319648 w 533723"/>
                  <a:gd name="connsiteY119" fmla="*/ 358159 h 419386"/>
                  <a:gd name="connsiteX120" fmla="*/ 319434 w 533723"/>
                  <a:gd name="connsiteY120" fmla="*/ 357823 h 419386"/>
                  <a:gd name="connsiteX121" fmla="*/ 314734 w 533723"/>
                  <a:gd name="connsiteY121" fmla="*/ 350455 h 419386"/>
                  <a:gd name="connsiteX122" fmla="*/ 319052 w 533723"/>
                  <a:gd name="connsiteY122" fmla="*/ 316733 h 419386"/>
                  <a:gd name="connsiteX123" fmla="*/ 323333 w 533723"/>
                  <a:gd name="connsiteY123" fmla="*/ 310656 h 419386"/>
                  <a:gd name="connsiteX124" fmla="*/ 320679 w 533723"/>
                  <a:gd name="connsiteY124" fmla="*/ 310837 h 419386"/>
                  <a:gd name="connsiteX125" fmla="*/ 316984 w 533723"/>
                  <a:gd name="connsiteY125" fmla="*/ 309959 h 419386"/>
                  <a:gd name="connsiteX126" fmla="*/ 278469 w 533723"/>
                  <a:gd name="connsiteY126" fmla="*/ 281787 h 419386"/>
                  <a:gd name="connsiteX127" fmla="*/ 279196 w 533723"/>
                  <a:gd name="connsiteY127" fmla="*/ 221148 h 419386"/>
                  <a:gd name="connsiteX128" fmla="*/ 281137 w 533723"/>
                  <a:gd name="connsiteY128" fmla="*/ 212759 h 419386"/>
                  <a:gd name="connsiteX129" fmla="*/ 280817 w 533723"/>
                  <a:gd name="connsiteY129" fmla="*/ 212855 h 419386"/>
                  <a:gd name="connsiteX130" fmla="*/ 280074 w 533723"/>
                  <a:gd name="connsiteY130" fmla="*/ 213019 h 419386"/>
                  <a:gd name="connsiteX131" fmla="*/ 208386 w 533723"/>
                  <a:gd name="connsiteY131" fmla="*/ 230868 h 419386"/>
                  <a:gd name="connsiteX132" fmla="*/ 129358 w 533723"/>
                  <a:gd name="connsiteY132" fmla="*/ 256155 h 419386"/>
                  <a:gd name="connsiteX133" fmla="*/ 76481 w 533723"/>
                  <a:gd name="connsiteY133" fmla="*/ 253856 h 419386"/>
                  <a:gd name="connsiteX134" fmla="*/ 56365 w 533723"/>
                  <a:gd name="connsiteY134" fmla="*/ 204718 h 419386"/>
                  <a:gd name="connsiteX135" fmla="*/ 6361 w 533723"/>
                  <a:gd name="connsiteY135" fmla="*/ 145234 h 419386"/>
                  <a:gd name="connsiteX136" fmla="*/ 4924 w 533723"/>
                  <a:gd name="connsiteY136" fmla="*/ 90923 h 419386"/>
                  <a:gd name="connsiteX137" fmla="*/ 26190 w 533723"/>
                  <a:gd name="connsiteY137" fmla="*/ 62762 h 419386"/>
                  <a:gd name="connsiteX138" fmla="*/ 51192 w 533723"/>
                  <a:gd name="connsiteY138" fmla="*/ 63624 h 419386"/>
                  <a:gd name="connsiteX139" fmla="*/ 92574 w 533723"/>
                  <a:gd name="connsiteY139" fmla="*/ 72245 h 419386"/>
                  <a:gd name="connsiteX140" fmla="*/ 148899 w 533723"/>
                  <a:gd name="connsiteY140" fmla="*/ 97533 h 419386"/>
                  <a:gd name="connsiteX141" fmla="*/ 100620 w 533723"/>
                  <a:gd name="connsiteY141" fmla="*/ 70233 h 419386"/>
                  <a:gd name="connsiteX142" fmla="*/ 68722 w 533723"/>
                  <a:gd name="connsiteY142" fmla="*/ 57877 h 419386"/>
                  <a:gd name="connsiteX143" fmla="*/ 95735 w 533723"/>
                  <a:gd name="connsiteY143" fmla="*/ 33739 h 419386"/>
                  <a:gd name="connsiteX144" fmla="*/ 118438 w 533723"/>
                  <a:gd name="connsiteY144" fmla="*/ 6440 h 419386"/>
                  <a:gd name="connsiteX145" fmla="*/ 135290 w 533723"/>
                  <a:gd name="connsiteY145" fmla="*/ 95 h 419386"/>
                  <a:gd name="connsiteX0" fmla="*/ 528506 w 533723"/>
                  <a:gd name="connsiteY0" fmla="*/ 291832 h 415347"/>
                  <a:gd name="connsiteX1" fmla="*/ 510121 w 533723"/>
                  <a:gd name="connsiteY1" fmla="*/ 300446 h 415347"/>
                  <a:gd name="connsiteX2" fmla="*/ 500354 w 533723"/>
                  <a:gd name="connsiteY2" fmla="*/ 302312 h 415347"/>
                  <a:gd name="connsiteX3" fmla="*/ 489695 w 533723"/>
                  <a:gd name="connsiteY3" fmla="*/ 299159 h 415347"/>
                  <a:gd name="connsiteX4" fmla="*/ 490953 w 533723"/>
                  <a:gd name="connsiteY4" fmla="*/ 302242 h 415347"/>
                  <a:gd name="connsiteX5" fmla="*/ 490826 w 533723"/>
                  <a:gd name="connsiteY5" fmla="*/ 302554 h 415347"/>
                  <a:gd name="connsiteX6" fmla="*/ 497481 w 533723"/>
                  <a:gd name="connsiteY6" fmla="*/ 306188 h 415347"/>
                  <a:gd name="connsiteX7" fmla="*/ 505812 w 533723"/>
                  <a:gd name="connsiteY7" fmla="*/ 305901 h 415347"/>
                  <a:gd name="connsiteX8" fmla="*/ 523335 w 533723"/>
                  <a:gd name="connsiteY8" fmla="*/ 297575 h 415347"/>
                  <a:gd name="connsiteX9" fmla="*/ 528506 w 533723"/>
                  <a:gd name="connsiteY9" fmla="*/ 291832 h 415347"/>
                  <a:gd name="connsiteX10" fmla="*/ 459095 w 533723"/>
                  <a:gd name="connsiteY10" fmla="*/ 214354 h 415347"/>
                  <a:gd name="connsiteX11" fmla="*/ 470185 w 533723"/>
                  <a:gd name="connsiteY11" fmla="*/ 232917 h 415347"/>
                  <a:gd name="connsiteX12" fmla="*/ 469083 w 533723"/>
                  <a:gd name="connsiteY12" fmla="*/ 236710 h 415347"/>
                  <a:gd name="connsiteX13" fmla="*/ 465107 w 533723"/>
                  <a:gd name="connsiteY13" fmla="*/ 228628 h 415347"/>
                  <a:gd name="connsiteX14" fmla="*/ 462850 w 533723"/>
                  <a:gd name="connsiteY14" fmla="*/ 223907 h 415347"/>
                  <a:gd name="connsiteX15" fmla="*/ 461361 w 533723"/>
                  <a:gd name="connsiteY15" fmla="*/ 220754 h 415347"/>
                  <a:gd name="connsiteX16" fmla="*/ 459095 w 533723"/>
                  <a:gd name="connsiteY16" fmla="*/ 214354 h 415347"/>
                  <a:gd name="connsiteX17" fmla="*/ 458921 w 533723"/>
                  <a:gd name="connsiteY17" fmla="*/ 213862 h 415347"/>
                  <a:gd name="connsiteX18" fmla="*/ 459095 w 533723"/>
                  <a:gd name="connsiteY18" fmla="*/ 214354 h 415347"/>
                  <a:gd name="connsiteX19" fmla="*/ 458953 w 533723"/>
                  <a:gd name="connsiteY19" fmla="*/ 214116 h 415347"/>
                  <a:gd name="connsiteX20" fmla="*/ 458921 w 533723"/>
                  <a:gd name="connsiteY20" fmla="*/ 213862 h 415347"/>
                  <a:gd name="connsiteX21" fmla="*/ 231642 w 533723"/>
                  <a:gd name="connsiteY21" fmla="*/ 117869 h 415347"/>
                  <a:gd name="connsiteX22" fmla="*/ 245739 w 533723"/>
                  <a:gd name="connsiteY22" fmla="*/ 119960 h 415347"/>
                  <a:gd name="connsiteX23" fmla="*/ 247479 w 533723"/>
                  <a:gd name="connsiteY23" fmla="*/ 117948 h 415347"/>
                  <a:gd name="connsiteX24" fmla="*/ 241439 w 533723"/>
                  <a:gd name="connsiteY24" fmla="*/ 117896 h 415347"/>
                  <a:gd name="connsiteX25" fmla="*/ 231642 w 533723"/>
                  <a:gd name="connsiteY25" fmla="*/ 117869 h 415347"/>
                  <a:gd name="connsiteX26" fmla="*/ 393966 w 533723"/>
                  <a:gd name="connsiteY26" fmla="*/ 59548 h 415347"/>
                  <a:gd name="connsiteX27" fmla="*/ 394760 w 533723"/>
                  <a:gd name="connsiteY27" fmla="*/ 61641 h 415347"/>
                  <a:gd name="connsiteX28" fmla="*/ 396543 w 533723"/>
                  <a:gd name="connsiteY28" fmla="*/ 61922 h 415347"/>
                  <a:gd name="connsiteX29" fmla="*/ 393966 w 533723"/>
                  <a:gd name="connsiteY29" fmla="*/ 59548 h 415347"/>
                  <a:gd name="connsiteX30" fmla="*/ 135290 w 533723"/>
                  <a:gd name="connsiteY30" fmla="*/ 95 h 415347"/>
                  <a:gd name="connsiteX31" fmla="*/ 142002 w 533723"/>
                  <a:gd name="connsiteY31" fmla="*/ 118 h 415347"/>
                  <a:gd name="connsiteX32" fmla="*/ 184247 w 533723"/>
                  <a:gd name="connsiteY32" fmla="*/ 9888 h 415347"/>
                  <a:gd name="connsiteX33" fmla="*/ 237411 w 533723"/>
                  <a:gd name="connsiteY33" fmla="*/ 31727 h 415347"/>
                  <a:gd name="connsiteX34" fmla="*/ 273908 w 533723"/>
                  <a:gd name="connsiteY34" fmla="*/ 50693 h 415347"/>
                  <a:gd name="connsiteX35" fmla="*/ 300993 w 533723"/>
                  <a:gd name="connsiteY35" fmla="*/ 65241 h 415347"/>
                  <a:gd name="connsiteX36" fmla="*/ 313770 w 533723"/>
                  <a:gd name="connsiteY36" fmla="*/ 72415 h 415347"/>
                  <a:gd name="connsiteX37" fmla="*/ 317458 w 533723"/>
                  <a:gd name="connsiteY37" fmla="*/ 74704 h 415347"/>
                  <a:gd name="connsiteX38" fmla="*/ 321989 w 533723"/>
                  <a:gd name="connsiteY38" fmla="*/ 77518 h 415347"/>
                  <a:gd name="connsiteX39" fmla="*/ 328509 w 533723"/>
                  <a:gd name="connsiteY39" fmla="*/ 81728 h 415347"/>
                  <a:gd name="connsiteX40" fmla="*/ 329950 w 533723"/>
                  <a:gd name="connsiteY40" fmla="*/ 82770 h 415347"/>
                  <a:gd name="connsiteX41" fmla="*/ 322786 w 533723"/>
                  <a:gd name="connsiteY41" fmla="*/ 67357 h 415347"/>
                  <a:gd name="connsiteX42" fmla="*/ 318179 w 533723"/>
                  <a:gd name="connsiteY42" fmla="*/ 66024 h 415347"/>
                  <a:gd name="connsiteX43" fmla="*/ 315145 w 533723"/>
                  <a:gd name="connsiteY43" fmla="*/ 65146 h 415347"/>
                  <a:gd name="connsiteX44" fmla="*/ 315984 w 533723"/>
                  <a:gd name="connsiteY44" fmla="*/ 64282 h 415347"/>
                  <a:gd name="connsiteX45" fmla="*/ 336115 w 533723"/>
                  <a:gd name="connsiteY45" fmla="*/ 45493 h 415347"/>
                  <a:gd name="connsiteX46" fmla="*/ 339135 w 533723"/>
                  <a:gd name="connsiteY46" fmla="*/ 43303 h 415347"/>
                  <a:gd name="connsiteX47" fmla="*/ 344556 w 533723"/>
                  <a:gd name="connsiteY47" fmla="*/ 40552 h 415347"/>
                  <a:gd name="connsiteX48" fmla="*/ 348957 w 533723"/>
                  <a:gd name="connsiteY48" fmla="*/ 38760 h 415347"/>
                  <a:gd name="connsiteX49" fmla="*/ 368054 w 533723"/>
                  <a:gd name="connsiteY49" fmla="*/ 34807 h 415347"/>
                  <a:gd name="connsiteX50" fmla="*/ 382234 w 533723"/>
                  <a:gd name="connsiteY50" fmla="*/ 37952 h 415347"/>
                  <a:gd name="connsiteX51" fmla="*/ 390275 w 533723"/>
                  <a:gd name="connsiteY51" fmla="*/ 35652 h 415347"/>
                  <a:gd name="connsiteX52" fmla="*/ 390840 w 533723"/>
                  <a:gd name="connsiteY52" fmla="*/ 35749 h 415347"/>
                  <a:gd name="connsiteX53" fmla="*/ 391575 w 533723"/>
                  <a:gd name="connsiteY53" fmla="*/ 35894 h 415347"/>
                  <a:gd name="connsiteX54" fmla="*/ 391750 w 533723"/>
                  <a:gd name="connsiteY54" fmla="*/ 35955 h 415347"/>
                  <a:gd name="connsiteX55" fmla="*/ 392615 w 533723"/>
                  <a:gd name="connsiteY55" fmla="*/ 36327 h 415347"/>
                  <a:gd name="connsiteX56" fmla="*/ 393242 w 533723"/>
                  <a:gd name="connsiteY56" fmla="*/ 36306 h 415347"/>
                  <a:gd name="connsiteX57" fmla="*/ 393406 w 533723"/>
                  <a:gd name="connsiteY57" fmla="*/ 36317 h 415347"/>
                  <a:gd name="connsiteX58" fmla="*/ 397383 w 533723"/>
                  <a:gd name="connsiteY58" fmla="*/ 37341 h 415347"/>
                  <a:gd name="connsiteX59" fmla="*/ 408367 w 533723"/>
                  <a:gd name="connsiteY59" fmla="*/ 43126 h 415347"/>
                  <a:gd name="connsiteX60" fmla="*/ 459773 w 533723"/>
                  <a:gd name="connsiteY60" fmla="*/ 126491 h 415347"/>
                  <a:gd name="connsiteX61" fmla="*/ 441680 w 533723"/>
                  <a:gd name="connsiteY61" fmla="*/ 188008 h 415347"/>
                  <a:gd name="connsiteX62" fmla="*/ 442553 w 533723"/>
                  <a:gd name="connsiteY62" fmla="*/ 192637 h 415347"/>
                  <a:gd name="connsiteX63" fmla="*/ 443081 w 533723"/>
                  <a:gd name="connsiteY63" fmla="*/ 194875 h 415347"/>
                  <a:gd name="connsiteX64" fmla="*/ 451172 w 533723"/>
                  <a:gd name="connsiteY64" fmla="*/ 201092 h 415347"/>
                  <a:gd name="connsiteX65" fmla="*/ 458953 w 533723"/>
                  <a:gd name="connsiteY65" fmla="*/ 214116 h 415347"/>
                  <a:gd name="connsiteX66" fmla="*/ 459209 w 533723"/>
                  <a:gd name="connsiteY66" fmla="*/ 216161 h 415347"/>
                  <a:gd name="connsiteX67" fmla="*/ 460971 w 533723"/>
                  <a:gd name="connsiteY67" fmla="*/ 219929 h 415347"/>
                  <a:gd name="connsiteX68" fmla="*/ 461361 w 533723"/>
                  <a:gd name="connsiteY68" fmla="*/ 220754 h 415347"/>
                  <a:gd name="connsiteX69" fmla="*/ 470303 w 533723"/>
                  <a:gd name="connsiteY69" fmla="*/ 246015 h 415347"/>
                  <a:gd name="connsiteX70" fmla="*/ 469962 w 533723"/>
                  <a:gd name="connsiteY70" fmla="*/ 245448 h 415347"/>
                  <a:gd name="connsiteX71" fmla="*/ 468971 w 533723"/>
                  <a:gd name="connsiteY71" fmla="*/ 243799 h 415347"/>
                  <a:gd name="connsiteX72" fmla="*/ 464115 w 533723"/>
                  <a:gd name="connsiteY72" fmla="*/ 240660 h 415347"/>
                  <a:gd name="connsiteX73" fmla="*/ 457544 w 533723"/>
                  <a:gd name="connsiteY73" fmla="*/ 239804 h 415347"/>
                  <a:gd name="connsiteX74" fmla="*/ 463829 w 533723"/>
                  <a:gd name="connsiteY74" fmla="*/ 242086 h 415347"/>
                  <a:gd name="connsiteX75" fmla="*/ 469895 w 533723"/>
                  <a:gd name="connsiteY75" fmla="*/ 245979 h 415347"/>
                  <a:gd name="connsiteX76" fmla="*/ 470460 w 533723"/>
                  <a:gd name="connsiteY76" fmla="*/ 246460 h 415347"/>
                  <a:gd name="connsiteX77" fmla="*/ 485321 w 533723"/>
                  <a:gd name="connsiteY77" fmla="*/ 288443 h 415347"/>
                  <a:gd name="connsiteX78" fmla="*/ 485666 w 533723"/>
                  <a:gd name="connsiteY78" fmla="*/ 289289 h 415347"/>
                  <a:gd name="connsiteX79" fmla="*/ 485392 w 533723"/>
                  <a:gd name="connsiteY79" fmla="*/ 285754 h 415347"/>
                  <a:gd name="connsiteX80" fmla="*/ 485409 w 533723"/>
                  <a:gd name="connsiteY80" fmla="*/ 284254 h 415347"/>
                  <a:gd name="connsiteX81" fmla="*/ 485552 w 533723"/>
                  <a:gd name="connsiteY81" fmla="*/ 284634 h 415347"/>
                  <a:gd name="connsiteX82" fmla="*/ 487684 w 533723"/>
                  <a:gd name="connsiteY82" fmla="*/ 290297 h 415347"/>
                  <a:gd name="connsiteX83" fmla="*/ 487716 w 533723"/>
                  <a:gd name="connsiteY83" fmla="*/ 290381 h 415347"/>
                  <a:gd name="connsiteX84" fmla="*/ 487709 w 533723"/>
                  <a:gd name="connsiteY84" fmla="*/ 290382 h 415347"/>
                  <a:gd name="connsiteX85" fmla="*/ 486150 w 533723"/>
                  <a:gd name="connsiteY85" fmla="*/ 290474 h 415347"/>
                  <a:gd name="connsiteX86" fmla="*/ 488742 w 533723"/>
                  <a:gd name="connsiteY86" fmla="*/ 296824 h 415347"/>
                  <a:gd name="connsiteX87" fmla="*/ 494320 w 533723"/>
                  <a:gd name="connsiteY87" fmla="*/ 295556 h 415347"/>
                  <a:gd name="connsiteX88" fmla="*/ 512429 w 533723"/>
                  <a:gd name="connsiteY88" fmla="*/ 291820 h 415347"/>
                  <a:gd name="connsiteX89" fmla="*/ 519005 w 533723"/>
                  <a:gd name="connsiteY89" fmla="*/ 287509 h 415347"/>
                  <a:gd name="connsiteX90" fmla="*/ 520508 w 533723"/>
                  <a:gd name="connsiteY90" fmla="*/ 286839 h 415347"/>
                  <a:gd name="connsiteX91" fmla="*/ 522424 w 533723"/>
                  <a:gd name="connsiteY91" fmla="*/ 286502 h 415347"/>
                  <a:gd name="connsiteX92" fmla="*/ 523091 w 533723"/>
                  <a:gd name="connsiteY92" fmla="*/ 286385 h 415347"/>
                  <a:gd name="connsiteX93" fmla="*/ 525364 w 533723"/>
                  <a:gd name="connsiteY93" fmla="*/ 286646 h 415347"/>
                  <a:gd name="connsiteX94" fmla="*/ 533413 w 533723"/>
                  <a:gd name="connsiteY94" fmla="*/ 297855 h 415347"/>
                  <a:gd name="connsiteX95" fmla="*/ 530826 w 533723"/>
                  <a:gd name="connsiteY95" fmla="*/ 316249 h 415347"/>
                  <a:gd name="connsiteX96" fmla="*/ 530588 w 533723"/>
                  <a:gd name="connsiteY96" fmla="*/ 318085 h 415347"/>
                  <a:gd name="connsiteX97" fmla="*/ 530192 w 533723"/>
                  <a:gd name="connsiteY97" fmla="*/ 320320 h 415347"/>
                  <a:gd name="connsiteX98" fmla="*/ 529838 w 533723"/>
                  <a:gd name="connsiteY98" fmla="*/ 321637 h 415347"/>
                  <a:gd name="connsiteX99" fmla="*/ 526883 w 533723"/>
                  <a:gd name="connsiteY99" fmla="*/ 332653 h 415347"/>
                  <a:gd name="connsiteX100" fmla="*/ 524435 w 533723"/>
                  <a:gd name="connsiteY100" fmla="*/ 341781 h 415347"/>
                  <a:gd name="connsiteX101" fmla="*/ 519934 w 533723"/>
                  <a:gd name="connsiteY101" fmla="*/ 353045 h 415347"/>
                  <a:gd name="connsiteX102" fmla="*/ 493458 w 533723"/>
                  <a:gd name="connsiteY102" fmla="*/ 392987 h 415347"/>
                  <a:gd name="connsiteX103" fmla="*/ 421143 w 533723"/>
                  <a:gd name="connsiteY103" fmla="*/ 403455 h 415347"/>
                  <a:gd name="connsiteX104" fmla="*/ 416615 w 533723"/>
                  <a:gd name="connsiteY104" fmla="*/ 401105 h 415347"/>
                  <a:gd name="connsiteX105" fmla="*/ 401019 w 533723"/>
                  <a:gd name="connsiteY105" fmla="*/ 392405 h 415347"/>
                  <a:gd name="connsiteX106" fmla="*/ 381629 w 533723"/>
                  <a:gd name="connsiteY106" fmla="*/ 410745 h 415347"/>
                  <a:gd name="connsiteX107" fmla="*/ 364512 w 533723"/>
                  <a:gd name="connsiteY107" fmla="*/ 414388 h 415347"/>
                  <a:gd name="connsiteX108" fmla="*/ 362260 w 533723"/>
                  <a:gd name="connsiteY108" fmla="*/ 412847 h 415347"/>
                  <a:gd name="connsiteX109" fmla="*/ 359508 w 533723"/>
                  <a:gd name="connsiteY109" fmla="*/ 412530 h 415347"/>
                  <a:gd name="connsiteX110" fmla="*/ 354180 w 533723"/>
                  <a:gd name="connsiteY110" fmla="*/ 409493 h 415347"/>
                  <a:gd name="connsiteX111" fmla="*/ 351263 w 533723"/>
                  <a:gd name="connsiteY111" fmla="*/ 406931 h 415347"/>
                  <a:gd name="connsiteX112" fmla="*/ 351015 w 533723"/>
                  <a:gd name="connsiteY112" fmla="*/ 406713 h 415347"/>
                  <a:gd name="connsiteX113" fmla="*/ 348397 w 533723"/>
                  <a:gd name="connsiteY113" fmla="*/ 403432 h 415347"/>
                  <a:gd name="connsiteX114" fmla="*/ 347445 w 533723"/>
                  <a:gd name="connsiteY114" fmla="*/ 401927 h 415347"/>
                  <a:gd name="connsiteX115" fmla="*/ 345319 w 533723"/>
                  <a:gd name="connsiteY115" fmla="*/ 397536 h 415347"/>
                  <a:gd name="connsiteX116" fmla="*/ 344561 w 533723"/>
                  <a:gd name="connsiteY116" fmla="*/ 395286 h 415347"/>
                  <a:gd name="connsiteX117" fmla="*/ 335650 w 533723"/>
                  <a:gd name="connsiteY117" fmla="*/ 375455 h 415347"/>
                  <a:gd name="connsiteX118" fmla="*/ 322714 w 533723"/>
                  <a:gd name="connsiteY118" fmla="*/ 362234 h 415347"/>
                  <a:gd name="connsiteX119" fmla="*/ 319648 w 533723"/>
                  <a:gd name="connsiteY119" fmla="*/ 358159 h 415347"/>
                  <a:gd name="connsiteX120" fmla="*/ 319434 w 533723"/>
                  <a:gd name="connsiteY120" fmla="*/ 357823 h 415347"/>
                  <a:gd name="connsiteX121" fmla="*/ 314734 w 533723"/>
                  <a:gd name="connsiteY121" fmla="*/ 350455 h 415347"/>
                  <a:gd name="connsiteX122" fmla="*/ 319052 w 533723"/>
                  <a:gd name="connsiteY122" fmla="*/ 316733 h 415347"/>
                  <a:gd name="connsiteX123" fmla="*/ 323333 w 533723"/>
                  <a:gd name="connsiteY123" fmla="*/ 310656 h 415347"/>
                  <a:gd name="connsiteX124" fmla="*/ 320679 w 533723"/>
                  <a:gd name="connsiteY124" fmla="*/ 310837 h 415347"/>
                  <a:gd name="connsiteX125" fmla="*/ 316984 w 533723"/>
                  <a:gd name="connsiteY125" fmla="*/ 309959 h 415347"/>
                  <a:gd name="connsiteX126" fmla="*/ 278469 w 533723"/>
                  <a:gd name="connsiteY126" fmla="*/ 281787 h 415347"/>
                  <a:gd name="connsiteX127" fmla="*/ 279196 w 533723"/>
                  <a:gd name="connsiteY127" fmla="*/ 221148 h 415347"/>
                  <a:gd name="connsiteX128" fmla="*/ 281137 w 533723"/>
                  <a:gd name="connsiteY128" fmla="*/ 212759 h 415347"/>
                  <a:gd name="connsiteX129" fmla="*/ 280817 w 533723"/>
                  <a:gd name="connsiteY129" fmla="*/ 212855 h 415347"/>
                  <a:gd name="connsiteX130" fmla="*/ 280074 w 533723"/>
                  <a:gd name="connsiteY130" fmla="*/ 213019 h 415347"/>
                  <a:gd name="connsiteX131" fmla="*/ 208386 w 533723"/>
                  <a:gd name="connsiteY131" fmla="*/ 230868 h 415347"/>
                  <a:gd name="connsiteX132" fmla="*/ 129358 w 533723"/>
                  <a:gd name="connsiteY132" fmla="*/ 256155 h 415347"/>
                  <a:gd name="connsiteX133" fmla="*/ 76481 w 533723"/>
                  <a:gd name="connsiteY133" fmla="*/ 253856 h 415347"/>
                  <a:gd name="connsiteX134" fmla="*/ 56365 w 533723"/>
                  <a:gd name="connsiteY134" fmla="*/ 204718 h 415347"/>
                  <a:gd name="connsiteX135" fmla="*/ 6361 w 533723"/>
                  <a:gd name="connsiteY135" fmla="*/ 145234 h 415347"/>
                  <a:gd name="connsiteX136" fmla="*/ 4924 w 533723"/>
                  <a:gd name="connsiteY136" fmla="*/ 90923 h 415347"/>
                  <a:gd name="connsiteX137" fmla="*/ 26190 w 533723"/>
                  <a:gd name="connsiteY137" fmla="*/ 62762 h 415347"/>
                  <a:gd name="connsiteX138" fmla="*/ 51192 w 533723"/>
                  <a:gd name="connsiteY138" fmla="*/ 63624 h 415347"/>
                  <a:gd name="connsiteX139" fmla="*/ 92574 w 533723"/>
                  <a:gd name="connsiteY139" fmla="*/ 72245 h 415347"/>
                  <a:gd name="connsiteX140" fmla="*/ 148899 w 533723"/>
                  <a:gd name="connsiteY140" fmla="*/ 97533 h 415347"/>
                  <a:gd name="connsiteX141" fmla="*/ 100620 w 533723"/>
                  <a:gd name="connsiteY141" fmla="*/ 70233 h 415347"/>
                  <a:gd name="connsiteX142" fmla="*/ 68722 w 533723"/>
                  <a:gd name="connsiteY142" fmla="*/ 57877 h 415347"/>
                  <a:gd name="connsiteX143" fmla="*/ 95735 w 533723"/>
                  <a:gd name="connsiteY143" fmla="*/ 33739 h 415347"/>
                  <a:gd name="connsiteX144" fmla="*/ 118438 w 533723"/>
                  <a:gd name="connsiteY144" fmla="*/ 6440 h 415347"/>
                  <a:gd name="connsiteX145" fmla="*/ 135290 w 533723"/>
                  <a:gd name="connsiteY145" fmla="*/ 95 h 415347"/>
                  <a:gd name="connsiteX0" fmla="*/ 528506 w 533723"/>
                  <a:gd name="connsiteY0" fmla="*/ 291832 h 415322"/>
                  <a:gd name="connsiteX1" fmla="*/ 510121 w 533723"/>
                  <a:gd name="connsiteY1" fmla="*/ 300446 h 415322"/>
                  <a:gd name="connsiteX2" fmla="*/ 500354 w 533723"/>
                  <a:gd name="connsiteY2" fmla="*/ 302312 h 415322"/>
                  <a:gd name="connsiteX3" fmla="*/ 489695 w 533723"/>
                  <a:gd name="connsiteY3" fmla="*/ 299159 h 415322"/>
                  <a:gd name="connsiteX4" fmla="*/ 490953 w 533723"/>
                  <a:gd name="connsiteY4" fmla="*/ 302242 h 415322"/>
                  <a:gd name="connsiteX5" fmla="*/ 490826 w 533723"/>
                  <a:gd name="connsiteY5" fmla="*/ 302554 h 415322"/>
                  <a:gd name="connsiteX6" fmla="*/ 497481 w 533723"/>
                  <a:gd name="connsiteY6" fmla="*/ 306188 h 415322"/>
                  <a:gd name="connsiteX7" fmla="*/ 505812 w 533723"/>
                  <a:gd name="connsiteY7" fmla="*/ 305901 h 415322"/>
                  <a:gd name="connsiteX8" fmla="*/ 523335 w 533723"/>
                  <a:gd name="connsiteY8" fmla="*/ 297575 h 415322"/>
                  <a:gd name="connsiteX9" fmla="*/ 528506 w 533723"/>
                  <a:gd name="connsiteY9" fmla="*/ 291832 h 415322"/>
                  <a:gd name="connsiteX10" fmla="*/ 459095 w 533723"/>
                  <a:gd name="connsiteY10" fmla="*/ 214354 h 415322"/>
                  <a:gd name="connsiteX11" fmla="*/ 470185 w 533723"/>
                  <a:gd name="connsiteY11" fmla="*/ 232917 h 415322"/>
                  <a:gd name="connsiteX12" fmla="*/ 469083 w 533723"/>
                  <a:gd name="connsiteY12" fmla="*/ 236710 h 415322"/>
                  <a:gd name="connsiteX13" fmla="*/ 465107 w 533723"/>
                  <a:gd name="connsiteY13" fmla="*/ 228628 h 415322"/>
                  <a:gd name="connsiteX14" fmla="*/ 462850 w 533723"/>
                  <a:gd name="connsiteY14" fmla="*/ 223907 h 415322"/>
                  <a:gd name="connsiteX15" fmla="*/ 461361 w 533723"/>
                  <a:gd name="connsiteY15" fmla="*/ 220754 h 415322"/>
                  <a:gd name="connsiteX16" fmla="*/ 459095 w 533723"/>
                  <a:gd name="connsiteY16" fmla="*/ 214354 h 415322"/>
                  <a:gd name="connsiteX17" fmla="*/ 458921 w 533723"/>
                  <a:gd name="connsiteY17" fmla="*/ 213862 h 415322"/>
                  <a:gd name="connsiteX18" fmla="*/ 459095 w 533723"/>
                  <a:gd name="connsiteY18" fmla="*/ 214354 h 415322"/>
                  <a:gd name="connsiteX19" fmla="*/ 458953 w 533723"/>
                  <a:gd name="connsiteY19" fmla="*/ 214116 h 415322"/>
                  <a:gd name="connsiteX20" fmla="*/ 458921 w 533723"/>
                  <a:gd name="connsiteY20" fmla="*/ 213862 h 415322"/>
                  <a:gd name="connsiteX21" fmla="*/ 231642 w 533723"/>
                  <a:gd name="connsiteY21" fmla="*/ 117869 h 415322"/>
                  <a:gd name="connsiteX22" fmla="*/ 245739 w 533723"/>
                  <a:gd name="connsiteY22" fmla="*/ 119960 h 415322"/>
                  <a:gd name="connsiteX23" fmla="*/ 247479 w 533723"/>
                  <a:gd name="connsiteY23" fmla="*/ 117948 h 415322"/>
                  <a:gd name="connsiteX24" fmla="*/ 241439 w 533723"/>
                  <a:gd name="connsiteY24" fmla="*/ 117896 h 415322"/>
                  <a:gd name="connsiteX25" fmla="*/ 231642 w 533723"/>
                  <a:gd name="connsiteY25" fmla="*/ 117869 h 415322"/>
                  <a:gd name="connsiteX26" fmla="*/ 393966 w 533723"/>
                  <a:gd name="connsiteY26" fmla="*/ 59548 h 415322"/>
                  <a:gd name="connsiteX27" fmla="*/ 394760 w 533723"/>
                  <a:gd name="connsiteY27" fmla="*/ 61641 h 415322"/>
                  <a:gd name="connsiteX28" fmla="*/ 396543 w 533723"/>
                  <a:gd name="connsiteY28" fmla="*/ 61922 h 415322"/>
                  <a:gd name="connsiteX29" fmla="*/ 393966 w 533723"/>
                  <a:gd name="connsiteY29" fmla="*/ 59548 h 415322"/>
                  <a:gd name="connsiteX30" fmla="*/ 135290 w 533723"/>
                  <a:gd name="connsiteY30" fmla="*/ 95 h 415322"/>
                  <a:gd name="connsiteX31" fmla="*/ 142002 w 533723"/>
                  <a:gd name="connsiteY31" fmla="*/ 118 h 415322"/>
                  <a:gd name="connsiteX32" fmla="*/ 184247 w 533723"/>
                  <a:gd name="connsiteY32" fmla="*/ 9888 h 415322"/>
                  <a:gd name="connsiteX33" fmla="*/ 237411 w 533723"/>
                  <a:gd name="connsiteY33" fmla="*/ 31727 h 415322"/>
                  <a:gd name="connsiteX34" fmla="*/ 273908 w 533723"/>
                  <a:gd name="connsiteY34" fmla="*/ 50693 h 415322"/>
                  <a:gd name="connsiteX35" fmla="*/ 300993 w 533723"/>
                  <a:gd name="connsiteY35" fmla="*/ 65241 h 415322"/>
                  <a:gd name="connsiteX36" fmla="*/ 313770 w 533723"/>
                  <a:gd name="connsiteY36" fmla="*/ 72415 h 415322"/>
                  <a:gd name="connsiteX37" fmla="*/ 317458 w 533723"/>
                  <a:gd name="connsiteY37" fmla="*/ 74704 h 415322"/>
                  <a:gd name="connsiteX38" fmla="*/ 321989 w 533723"/>
                  <a:gd name="connsiteY38" fmla="*/ 77518 h 415322"/>
                  <a:gd name="connsiteX39" fmla="*/ 328509 w 533723"/>
                  <a:gd name="connsiteY39" fmla="*/ 81728 h 415322"/>
                  <a:gd name="connsiteX40" fmla="*/ 329950 w 533723"/>
                  <a:gd name="connsiteY40" fmla="*/ 82770 h 415322"/>
                  <a:gd name="connsiteX41" fmla="*/ 322786 w 533723"/>
                  <a:gd name="connsiteY41" fmla="*/ 67357 h 415322"/>
                  <a:gd name="connsiteX42" fmla="*/ 318179 w 533723"/>
                  <a:gd name="connsiteY42" fmla="*/ 66024 h 415322"/>
                  <a:gd name="connsiteX43" fmla="*/ 315145 w 533723"/>
                  <a:gd name="connsiteY43" fmla="*/ 65146 h 415322"/>
                  <a:gd name="connsiteX44" fmla="*/ 315984 w 533723"/>
                  <a:gd name="connsiteY44" fmla="*/ 64282 h 415322"/>
                  <a:gd name="connsiteX45" fmla="*/ 336115 w 533723"/>
                  <a:gd name="connsiteY45" fmla="*/ 45493 h 415322"/>
                  <a:gd name="connsiteX46" fmla="*/ 339135 w 533723"/>
                  <a:gd name="connsiteY46" fmla="*/ 43303 h 415322"/>
                  <a:gd name="connsiteX47" fmla="*/ 344556 w 533723"/>
                  <a:gd name="connsiteY47" fmla="*/ 40552 h 415322"/>
                  <a:gd name="connsiteX48" fmla="*/ 348957 w 533723"/>
                  <a:gd name="connsiteY48" fmla="*/ 38760 h 415322"/>
                  <a:gd name="connsiteX49" fmla="*/ 368054 w 533723"/>
                  <a:gd name="connsiteY49" fmla="*/ 34807 h 415322"/>
                  <a:gd name="connsiteX50" fmla="*/ 382234 w 533723"/>
                  <a:gd name="connsiteY50" fmla="*/ 37952 h 415322"/>
                  <a:gd name="connsiteX51" fmla="*/ 390275 w 533723"/>
                  <a:gd name="connsiteY51" fmla="*/ 35652 h 415322"/>
                  <a:gd name="connsiteX52" fmla="*/ 390840 w 533723"/>
                  <a:gd name="connsiteY52" fmla="*/ 35749 h 415322"/>
                  <a:gd name="connsiteX53" fmla="*/ 391575 w 533723"/>
                  <a:gd name="connsiteY53" fmla="*/ 35894 h 415322"/>
                  <a:gd name="connsiteX54" fmla="*/ 391750 w 533723"/>
                  <a:gd name="connsiteY54" fmla="*/ 35955 h 415322"/>
                  <a:gd name="connsiteX55" fmla="*/ 392615 w 533723"/>
                  <a:gd name="connsiteY55" fmla="*/ 36327 h 415322"/>
                  <a:gd name="connsiteX56" fmla="*/ 393242 w 533723"/>
                  <a:gd name="connsiteY56" fmla="*/ 36306 h 415322"/>
                  <a:gd name="connsiteX57" fmla="*/ 393406 w 533723"/>
                  <a:gd name="connsiteY57" fmla="*/ 36317 h 415322"/>
                  <a:gd name="connsiteX58" fmla="*/ 397383 w 533723"/>
                  <a:gd name="connsiteY58" fmla="*/ 37341 h 415322"/>
                  <a:gd name="connsiteX59" fmla="*/ 408367 w 533723"/>
                  <a:gd name="connsiteY59" fmla="*/ 43126 h 415322"/>
                  <a:gd name="connsiteX60" fmla="*/ 459773 w 533723"/>
                  <a:gd name="connsiteY60" fmla="*/ 126491 h 415322"/>
                  <a:gd name="connsiteX61" fmla="*/ 441680 w 533723"/>
                  <a:gd name="connsiteY61" fmla="*/ 188008 h 415322"/>
                  <a:gd name="connsiteX62" fmla="*/ 442553 w 533723"/>
                  <a:gd name="connsiteY62" fmla="*/ 192637 h 415322"/>
                  <a:gd name="connsiteX63" fmla="*/ 443081 w 533723"/>
                  <a:gd name="connsiteY63" fmla="*/ 194875 h 415322"/>
                  <a:gd name="connsiteX64" fmla="*/ 451172 w 533723"/>
                  <a:gd name="connsiteY64" fmla="*/ 201092 h 415322"/>
                  <a:gd name="connsiteX65" fmla="*/ 458953 w 533723"/>
                  <a:gd name="connsiteY65" fmla="*/ 214116 h 415322"/>
                  <a:gd name="connsiteX66" fmla="*/ 459209 w 533723"/>
                  <a:gd name="connsiteY66" fmla="*/ 216161 h 415322"/>
                  <a:gd name="connsiteX67" fmla="*/ 460971 w 533723"/>
                  <a:gd name="connsiteY67" fmla="*/ 219929 h 415322"/>
                  <a:gd name="connsiteX68" fmla="*/ 461361 w 533723"/>
                  <a:gd name="connsiteY68" fmla="*/ 220754 h 415322"/>
                  <a:gd name="connsiteX69" fmla="*/ 470303 w 533723"/>
                  <a:gd name="connsiteY69" fmla="*/ 246015 h 415322"/>
                  <a:gd name="connsiteX70" fmla="*/ 469962 w 533723"/>
                  <a:gd name="connsiteY70" fmla="*/ 245448 h 415322"/>
                  <a:gd name="connsiteX71" fmla="*/ 468971 w 533723"/>
                  <a:gd name="connsiteY71" fmla="*/ 243799 h 415322"/>
                  <a:gd name="connsiteX72" fmla="*/ 464115 w 533723"/>
                  <a:gd name="connsiteY72" fmla="*/ 240660 h 415322"/>
                  <a:gd name="connsiteX73" fmla="*/ 457544 w 533723"/>
                  <a:gd name="connsiteY73" fmla="*/ 239804 h 415322"/>
                  <a:gd name="connsiteX74" fmla="*/ 463829 w 533723"/>
                  <a:gd name="connsiteY74" fmla="*/ 242086 h 415322"/>
                  <a:gd name="connsiteX75" fmla="*/ 469895 w 533723"/>
                  <a:gd name="connsiteY75" fmla="*/ 245979 h 415322"/>
                  <a:gd name="connsiteX76" fmla="*/ 470460 w 533723"/>
                  <a:gd name="connsiteY76" fmla="*/ 246460 h 415322"/>
                  <a:gd name="connsiteX77" fmla="*/ 485321 w 533723"/>
                  <a:gd name="connsiteY77" fmla="*/ 288443 h 415322"/>
                  <a:gd name="connsiteX78" fmla="*/ 485666 w 533723"/>
                  <a:gd name="connsiteY78" fmla="*/ 289289 h 415322"/>
                  <a:gd name="connsiteX79" fmla="*/ 485392 w 533723"/>
                  <a:gd name="connsiteY79" fmla="*/ 285754 h 415322"/>
                  <a:gd name="connsiteX80" fmla="*/ 485409 w 533723"/>
                  <a:gd name="connsiteY80" fmla="*/ 284254 h 415322"/>
                  <a:gd name="connsiteX81" fmla="*/ 485552 w 533723"/>
                  <a:gd name="connsiteY81" fmla="*/ 284634 h 415322"/>
                  <a:gd name="connsiteX82" fmla="*/ 487684 w 533723"/>
                  <a:gd name="connsiteY82" fmla="*/ 290297 h 415322"/>
                  <a:gd name="connsiteX83" fmla="*/ 487716 w 533723"/>
                  <a:gd name="connsiteY83" fmla="*/ 290381 h 415322"/>
                  <a:gd name="connsiteX84" fmla="*/ 487709 w 533723"/>
                  <a:gd name="connsiteY84" fmla="*/ 290382 h 415322"/>
                  <a:gd name="connsiteX85" fmla="*/ 486150 w 533723"/>
                  <a:gd name="connsiteY85" fmla="*/ 290474 h 415322"/>
                  <a:gd name="connsiteX86" fmla="*/ 488742 w 533723"/>
                  <a:gd name="connsiteY86" fmla="*/ 296824 h 415322"/>
                  <a:gd name="connsiteX87" fmla="*/ 494320 w 533723"/>
                  <a:gd name="connsiteY87" fmla="*/ 295556 h 415322"/>
                  <a:gd name="connsiteX88" fmla="*/ 512429 w 533723"/>
                  <a:gd name="connsiteY88" fmla="*/ 291820 h 415322"/>
                  <a:gd name="connsiteX89" fmla="*/ 519005 w 533723"/>
                  <a:gd name="connsiteY89" fmla="*/ 287509 h 415322"/>
                  <a:gd name="connsiteX90" fmla="*/ 520508 w 533723"/>
                  <a:gd name="connsiteY90" fmla="*/ 286839 h 415322"/>
                  <a:gd name="connsiteX91" fmla="*/ 522424 w 533723"/>
                  <a:gd name="connsiteY91" fmla="*/ 286502 h 415322"/>
                  <a:gd name="connsiteX92" fmla="*/ 523091 w 533723"/>
                  <a:gd name="connsiteY92" fmla="*/ 286385 h 415322"/>
                  <a:gd name="connsiteX93" fmla="*/ 525364 w 533723"/>
                  <a:gd name="connsiteY93" fmla="*/ 286646 h 415322"/>
                  <a:gd name="connsiteX94" fmla="*/ 533413 w 533723"/>
                  <a:gd name="connsiteY94" fmla="*/ 297855 h 415322"/>
                  <a:gd name="connsiteX95" fmla="*/ 530826 w 533723"/>
                  <a:gd name="connsiteY95" fmla="*/ 316249 h 415322"/>
                  <a:gd name="connsiteX96" fmla="*/ 530588 w 533723"/>
                  <a:gd name="connsiteY96" fmla="*/ 318085 h 415322"/>
                  <a:gd name="connsiteX97" fmla="*/ 530192 w 533723"/>
                  <a:gd name="connsiteY97" fmla="*/ 320320 h 415322"/>
                  <a:gd name="connsiteX98" fmla="*/ 529838 w 533723"/>
                  <a:gd name="connsiteY98" fmla="*/ 321637 h 415322"/>
                  <a:gd name="connsiteX99" fmla="*/ 526883 w 533723"/>
                  <a:gd name="connsiteY99" fmla="*/ 332653 h 415322"/>
                  <a:gd name="connsiteX100" fmla="*/ 524435 w 533723"/>
                  <a:gd name="connsiteY100" fmla="*/ 341781 h 415322"/>
                  <a:gd name="connsiteX101" fmla="*/ 519934 w 533723"/>
                  <a:gd name="connsiteY101" fmla="*/ 353045 h 415322"/>
                  <a:gd name="connsiteX102" fmla="*/ 493458 w 533723"/>
                  <a:gd name="connsiteY102" fmla="*/ 392987 h 415322"/>
                  <a:gd name="connsiteX103" fmla="*/ 421143 w 533723"/>
                  <a:gd name="connsiteY103" fmla="*/ 403455 h 415322"/>
                  <a:gd name="connsiteX104" fmla="*/ 416615 w 533723"/>
                  <a:gd name="connsiteY104" fmla="*/ 401105 h 415322"/>
                  <a:gd name="connsiteX105" fmla="*/ 403771 w 533723"/>
                  <a:gd name="connsiteY105" fmla="*/ 393322 h 415322"/>
                  <a:gd name="connsiteX106" fmla="*/ 381629 w 533723"/>
                  <a:gd name="connsiteY106" fmla="*/ 410745 h 415322"/>
                  <a:gd name="connsiteX107" fmla="*/ 364512 w 533723"/>
                  <a:gd name="connsiteY107" fmla="*/ 414388 h 415322"/>
                  <a:gd name="connsiteX108" fmla="*/ 362260 w 533723"/>
                  <a:gd name="connsiteY108" fmla="*/ 412847 h 415322"/>
                  <a:gd name="connsiteX109" fmla="*/ 359508 w 533723"/>
                  <a:gd name="connsiteY109" fmla="*/ 412530 h 415322"/>
                  <a:gd name="connsiteX110" fmla="*/ 354180 w 533723"/>
                  <a:gd name="connsiteY110" fmla="*/ 409493 h 415322"/>
                  <a:gd name="connsiteX111" fmla="*/ 351263 w 533723"/>
                  <a:gd name="connsiteY111" fmla="*/ 406931 h 415322"/>
                  <a:gd name="connsiteX112" fmla="*/ 351015 w 533723"/>
                  <a:gd name="connsiteY112" fmla="*/ 406713 h 415322"/>
                  <a:gd name="connsiteX113" fmla="*/ 348397 w 533723"/>
                  <a:gd name="connsiteY113" fmla="*/ 403432 h 415322"/>
                  <a:gd name="connsiteX114" fmla="*/ 347445 w 533723"/>
                  <a:gd name="connsiteY114" fmla="*/ 401927 h 415322"/>
                  <a:gd name="connsiteX115" fmla="*/ 345319 w 533723"/>
                  <a:gd name="connsiteY115" fmla="*/ 397536 h 415322"/>
                  <a:gd name="connsiteX116" fmla="*/ 344561 w 533723"/>
                  <a:gd name="connsiteY116" fmla="*/ 395286 h 415322"/>
                  <a:gd name="connsiteX117" fmla="*/ 335650 w 533723"/>
                  <a:gd name="connsiteY117" fmla="*/ 375455 h 415322"/>
                  <a:gd name="connsiteX118" fmla="*/ 322714 w 533723"/>
                  <a:gd name="connsiteY118" fmla="*/ 362234 h 415322"/>
                  <a:gd name="connsiteX119" fmla="*/ 319648 w 533723"/>
                  <a:gd name="connsiteY119" fmla="*/ 358159 h 415322"/>
                  <a:gd name="connsiteX120" fmla="*/ 319434 w 533723"/>
                  <a:gd name="connsiteY120" fmla="*/ 357823 h 415322"/>
                  <a:gd name="connsiteX121" fmla="*/ 314734 w 533723"/>
                  <a:gd name="connsiteY121" fmla="*/ 350455 h 415322"/>
                  <a:gd name="connsiteX122" fmla="*/ 319052 w 533723"/>
                  <a:gd name="connsiteY122" fmla="*/ 316733 h 415322"/>
                  <a:gd name="connsiteX123" fmla="*/ 323333 w 533723"/>
                  <a:gd name="connsiteY123" fmla="*/ 310656 h 415322"/>
                  <a:gd name="connsiteX124" fmla="*/ 320679 w 533723"/>
                  <a:gd name="connsiteY124" fmla="*/ 310837 h 415322"/>
                  <a:gd name="connsiteX125" fmla="*/ 316984 w 533723"/>
                  <a:gd name="connsiteY125" fmla="*/ 309959 h 415322"/>
                  <a:gd name="connsiteX126" fmla="*/ 278469 w 533723"/>
                  <a:gd name="connsiteY126" fmla="*/ 281787 h 415322"/>
                  <a:gd name="connsiteX127" fmla="*/ 279196 w 533723"/>
                  <a:gd name="connsiteY127" fmla="*/ 221148 h 415322"/>
                  <a:gd name="connsiteX128" fmla="*/ 281137 w 533723"/>
                  <a:gd name="connsiteY128" fmla="*/ 212759 h 415322"/>
                  <a:gd name="connsiteX129" fmla="*/ 280817 w 533723"/>
                  <a:gd name="connsiteY129" fmla="*/ 212855 h 415322"/>
                  <a:gd name="connsiteX130" fmla="*/ 280074 w 533723"/>
                  <a:gd name="connsiteY130" fmla="*/ 213019 h 415322"/>
                  <a:gd name="connsiteX131" fmla="*/ 208386 w 533723"/>
                  <a:gd name="connsiteY131" fmla="*/ 230868 h 415322"/>
                  <a:gd name="connsiteX132" fmla="*/ 129358 w 533723"/>
                  <a:gd name="connsiteY132" fmla="*/ 256155 h 415322"/>
                  <a:gd name="connsiteX133" fmla="*/ 76481 w 533723"/>
                  <a:gd name="connsiteY133" fmla="*/ 253856 h 415322"/>
                  <a:gd name="connsiteX134" fmla="*/ 56365 w 533723"/>
                  <a:gd name="connsiteY134" fmla="*/ 204718 h 415322"/>
                  <a:gd name="connsiteX135" fmla="*/ 6361 w 533723"/>
                  <a:gd name="connsiteY135" fmla="*/ 145234 h 415322"/>
                  <a:gd name="connsiteX136" fmla="*/ 4924 w 533723"/>
                  <a:gd name="connsiteY136" fmla="*/ 90923 h 415322"/>
                  <a:gd name="connsiteX137" fmla="*/ 26190 w 533723"/>
                  <a:gd name="connsiteY137" fmla="*/ 62762 h 415322"/>
                  <a:gd name="connsiteX138" fmla="*/ 51192 w 533723"/>
                  <a:gd name="connsiteY138" fmla="*/ 63624 h 415322"/>
                  <a:gd name="connsiteX139" fmla="*/ 92574 w 533723"/>
                  <a:gd name="connsiteY139" fmla="*/ 72245 h 415322"/>
                  <a:gd name="connsiteX140" fmla="*/ 148899 w 533723"/>
                  <a:gd name="connsiteY140" fmla="*/ 97533 h 415322"/>
                  <a:gd name="connsiteX141" fmla="*/ 100620 w 533723"/>
                  <a:gd name="connsiteY141" fmla="*/ 70233 h 415322"/>
                  <a:gd name="connsiteX142" fmla="*/ 68722 w 533723"/>
                  <a:gd name="connsiteY142" fmla="*/ 57877 h 415322"/>
                  <a:gd name="connsiteX143" fmla="*/ 95735 w 533723"/>
                  <a:gd name="connsiteY143" fmla="*/ 33739 h 415322"/>
                  <a:gd name="connsiteX144" fmla="*/ 118438 w 533723"/>
                  <a:gd name="connsiteY144" fmla="*/ 6440 h 415322"/>
                  <a:gd name="connsiteX145" fmla="*/ 135290 w 533723"/>
                  <a:gd name="connsiteY145" fmla="*/ 95 h 4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533723" h="415322">
                    <a:moveTo>
                      <a:pt x="528506" y="291832"/>
                    </a:moveTo>
                    <a:cubicBezTo>
                      <a:pt x="528506" y="291832"/>
                      <a:pt x="516154" y="299584"/>
                      <a:pt x="510121" y="300446"/>
                    </a:cubicBezTo>
                    <a:cubicBezTo>
                      <a:pt x="507105" y="300877"/>
                      <a:pt x="504089" y="302097"/>
                      <a:pt x="500354" y="302312"/>
                    </a:cubicBezTo>
                    <a:lnTo>
                      <a:pt x="489695" y="299159"/>
                    </a:lnTo>
                    <a:lnTo>
                      <a:pt x="490953" y="302242"/>
                    </a:lnTo>
                    <a:cubicBezTo>
                      <a:pt x="490911" y="302346"/>
                      <a:pt x="490868" y="302450"/>
                      <a:pt x="490826" y="302554"/>
                    </a:cubicBezTo>
                    <a:lnTo>
                      <a:pt x="497481" y="306188"/>
                    </a:lnTo>
                    <a:cubicBezTo>
                      <a:pt x="502940" y="306475"/>
                      <a:pt x="505812" y="305901"/>
                      <a:pt x="505812" y="305901"/>
                    </a:cubicBezTo>
                    <a:cubicBezTo>
                      <a:pt x="517015" y="304465"/>
                      <a:pt x="521899" y="299010"/>
                      <a:pt x="523335" y="297575"/>
                    </a:cubicBezTo>
                    <a:cubicBezTo>
                      <a:pt x="525059" y="296426"/>
                      <a:pt x="528506" y="291832"/>
                      <a:pt x="528506" y="291832"/>
                    </a:cubicBezTo>
                    <a:close/>
                    <a:moveTo>
                      <a:pt x="459095" y="214354"/>
                    </a:moveTo>
                    <a:lnTo>
                      <a:pt x="470185" y="232917"/>
                    </a:lnTo>
                    <a:lnTo>
                      <a:pt x="469083" y="236710"/>
                    </a:lnTo>
                    <a:lnTo>
                      <a:pt x="465107" y="228628"/>
                    </a:lnTo>
                    <a:cubicBezTo>
                      <a:pt x="464316" y="226985"/>
                      <a:pt x="463551" y="225384"/>
                      <a:pt x="462850" y="223907"/>
                    </a:cubicBezTo>
                    <a:lnTo>
                      <a:pt x="461361" y="220754"/>
                    </a:lnTo>
                    <a:lnTo>
                      <a:pt x="459095" y="214354"/>
                    </a:lnTo>
                    <a:close/>
                    <a:moveTo>
                      <a:pt x="458921" y="213862"/>
                    </a:moveTo>
                    <a:lnTo>
                      <a:pt x="459095" y="214354"/>
                    </a:lnTo>
                    <a:lnTo>
                      <a:pt x="458953" y="214116"/>
                    </a:lnTo>
                    <a:cubicBezTo>
                      <a:pt x="458942" y="214031"/>
                      <a:pt x="458932" y="213947"/>
                      <a:pt x="458921" y="213862"/>
                    </a:cubicBezTo>
                    <a:close/>
                    <a:moveTo>
                      <a:pt x="231642" y="117869"/>
                    </a:moveTo>
                    <a:lnTo>
                      <a:pt x="245739" y="119960"/>
                    </a:lnTo>
                    <a:lnTo>
                      <a:pt x="247479" y="117948"/>
                    </a:lnTo>
                    <a:lnTo>
                      <a:pt x="241439" y="117896"/>
                    </a:lnTo>
                    <a:lnTo>
                      <a:pt x="231642" y="117869"/>
                    </a:lnTo>
                    <a:close/>
                    <a:moveTo>
                      <a:pt x="393966" y="59548"/>
                    </a:moveTo>
                    <a:lnTo>
                      <a:pt x="394760" y="61641"/>
                    </a:lnTo>
                    <a:lnTo>
                      <a:pt x="396543" y="61922"/>
                    </a:lnTo>
                    <a:lnTo>
                      <a:pt x="393966" y="59548"/>
                    </a:lnTo>
                    <a:close/>
                    <a:moveTo>
                      <a:pt x="135290" y="95"/>
                    </a:moveTo>
                    <a:cubicBezTo>
                      <a:pt x="137297" y="-44"/>
                      <a:pt x="139488" y="-26"/>
                      <a:pt x="142002" y="118"/>
                    </a:cubicBezTo>
                    <a:cubicBezTo>
                      <a:pt x="151773" y="692"/>
                      <a:pt x="171890" y="5290"/>
                      <a:pt x="184247" y="9888"/>
                    </a:cubicBezTo>
                    <a:cubicBezTo>
                      <a:pt x="196604" y="14198"/>
                      <a:pt x="225916" y="24831"/>
                      <a:pt x="237411" y="31727"/>
                    </a:cubicBezTo>
                    <a:cubicBezTo>
                      <a:pt x="250056" y="38911"/>
                      <a:pt x="261551" y="43509"/>
                      <a:pt x="273908" y="50693"/>
                    </a:cubicBezTo>
                    <a:cubicBezTo>
                      <a:pt x="280230" y="54285"/>
                      <a:pt x="290576" y="59601"/>
                      <a:pt x="300993" y="65241"/>
                    </a:cubicBezTo>
                    <a:lnTo>
                      <a:pt x="313770" y="72415"/>
                    </a:lnTo>
                    <a:lnTo>
                      <a:pt x="317458" y="74704"/>
                    </a:lnTo>
                    <a:lnTo>
                      <a:pt x="321989" y="77518"/>
                    </a:lnTo>
                    <a:lnTo>
                      <a:pt x="328509" y="81728"/>
                    </a:lnTo>
                    <a:lnTo>
                      <a:pt x="329950" y="82770"/>
                    </a:lnTo>
                    <a:lnTo>
                      <a:pt x="322786" y="67357"/>
                    </a:lnTo>
                    <a:lnTo>
                      <a:pt x="318179" y="66024"/>
                    </a:lnTo>
                    <a:lnTo>
                      <a:pt x="315145" y="65146"/>
                    </a:lnTo>
                    <a:lnTo>
                      <a:pt x="315984" y="64282"/>
                    </a:lnTo>
                    <a:cubicBezTo>
                      <a:pt x="319030" y="61163"/>
                      <a:pt x="328778" y="51321"/>
                      <a:pt x="336115" y="45493"/>
                    </a:cubicBezTo>
                    <a:lnTo>
                      <a:pt x="339135" y="43303"/>
                    </a:lnTo>
                    <a:lnTo>
                      <a:pt x="344556" y="40552"/>
                    </a:lnTo>
                    <a:lnTo>
                      <a:pt x="348957" y="38760"/>
                    </a:lnTo>
                    <a:cubicBezTo>
                      <a:pt x="353552" y="36748"/>
                      <a:pt x="359726" y="34376"/>
                      <a:pt x="368054" y="34807"/>
                    </a:cubicBezTo>
                    <a:cubicBezTo>
                      <a:pt x="372219" y="35023"/>
                      <a:pt x="376921" y="35939"/>
                      <a:pt x="382234" y="37952"/>
                    </a:cubicBezTo>
                    <a:cubicBezTo>
                      <a:pt x="403198" y="46001"/>
                      <a:pt x="390275" y="35652"/>
                      <a:pt x="390275" y="35652"/>
                    </a:cubicBezTo>
                    <a:cubicBezTo>
                      <a:pt x="390275" y="35652"/>
                      <a:pt x="390477" y="35683"/>
                      <a:pt x="390840" y="35749"/>
                    </a:cubicBezTo>
                    <a:lnTo>
                      <a:pt x="391575" y="35894"/>
                    </a:lnTo>
                    <a:lnTo>
                      <a:pt x="391750" y="35955"/>
                    </a:lnTo>
                    <a:cubicBezTo>
                      <a:pt x="392319" y="36184"/>
                      <a:pt x="392615" y="36327"/>
                      <a:pt x="392615" y="36327"/>
                    </a:cubicBezTo>
                    <a:cubicBezTo>
                      <a:pt x="392615" y="36327"/>
                      <a:pt x="392831" y="36305"/>
                      <a:pt x="393242" y="36306"/>
                    </a:cubicBezTo>
                    <a:lnTo>
                      <a:pt x="393406" y="36317"/>
                    </a:lnTo>
                    <a:lnTo>
                      <a:pt x="397383" y="37341"/>
                    </a:lnTo>
                    <a:cubicBezTo>
                      <a:pt x="401260" y="38527"/>
                      <a:pt x="405783" y="40395"/>
                      <a:pt x="408367" y="43126"/>
                    </a:cubicBezTo>
                    <a:cubicBezTo>
                      <a:pt x="413537" y="48875"/>
                      <a:pt x="463219" y="96019"/>
                      <a:pt x="459773" y="126491"/>
                    </a:cubicBezTo>
                    <a:cubicBezTo>
                      <a:pt x="457762" y="144888"/>
                      <a:pt x="440819" y="179671"/>
                      <a:pt x="441680" y="188008"/>
                    </a:cubicBezTo>
                    <a:cubicBezTo>
                      <a:pt x="441860" y="189266"/>
                      <a:pt x="442165" y="190853"/>
                      <a:pt x="442553" y="192637"/>
                    </a:cubicBezTo>
                    <a:lnTo>
                      <a:pt x="443081" y="194875"/>
                    </a:lnTo>
                    <a:lnTo>
                      <a:pt x="451172" y="201092"/>
                    </a:lnTo>
                    <a:lnTo>
                      <a:pt x="458953" y="214116"/>
                    </a:lnTo>
                    <a:cubicBezTo>
                      <a:pt x="459038" y="214798"/>
                      <a:pt x="459124" y="215479"/>
                      <a:pt x="459209" y="216161"/>
                    </a:cubicBezTo>
                    <a:cubicBezTo>
                      <a:pt x="459209" y="216161"/>
                      <a:pt x="459892" y="217634"/>
                      <a:pt x="460971" y="219929"/>
                    </a:cubicBezTo>
                    <a:lnTo>
                      <a:pt x="461361" y="220754"/>
                    </a:lnTo>
                    <a:lnTo>
                      <a:pt x="470303" y="246015"/>
                    </a:lnTo>
                    <a:lnTo>
                      <a:pt x="469962" y="245448"/>
                    </a:lnTo>
                    <a:lnTo>
                      <a:pt x="468971" y="243799"/>
                    </a:lnTo>
                    <a:cubicBezTo>
                      <a:pt x="468971" y="243799"/>
                      <a:pt x="466400" y="241516"/>
                      <a:pt x="464115" y="240660"/>
                    </a:cubicBezTo>
                    <a:cubicBezTo>
                      <a:pt x="461829" y="239518"/>
                      <a:pt x="457544" y="239804"/>
                      <a:pt x="457544" y="239804"/>
                    </a:cubicBezTo>
                    <a:cubicBezTo>
                      <a:pt x="457544" y="239804"/>
                      <a:pt x="461829" y="241516"/>
                      <a:pt x="463829" y="242086"/>
                    </a:cubicBezTo>
                    <a:cubicBezTo>
                      <a:pt x="465329" y="242300"/>
                      <a:pt x="468435" y="244762"/>
                      <a:pt x="469895" y="245979"/>
                    </a:cubicBezTo>
                    <a:lnTo>
                      <a:pt x="470460" y="246460"/>
                    </a:lnTo>
                    <a:lnTo>
                      <a:pt x="485321" y="288443"/>
                    </a:lnTo>
                    <a:lnTo>
                      <a:pt x="485666" y="289289"/>
                    </a:lnTo>
                    <a:cubicBezTo>
                      <a:pt x="485575" y="288111"/>
                      <a:pt x="485483" y="286932"/>
                      <a:pt x="485392" y="285754"/>
                    </a:cubicBezTo>
                    <a:cubicBezTo>
                      <a:pt x="485398" y="285254"/>
                      <a:pt x="485403" y="284754"/>
                      <a:pt x="485409" y="284254"/>
                    </a:cubicBezTo>
                    <a:cubicBezTo>
                      <a:pt x="485457" y="284381"/>
                      <a:pt x="485504" y="284507"/>
                      <a:pt x="485552" y="284634"/>
                    </a:cubicBezTo>
                    <a:lnTo>
                      <a:pt x="487684" y="290297"/>
                    </a:lnTo>
                    <a:cubicBezTo>
                      <a:pt x="487695" y="290325"/>
                      <a:pt x="487705" y="290353"/>
                      <a:pt x="487716" y="290381"/>
                    </a:cubicBezTo>
                    <a:cubicBezTo>
                      <a:pt x="487714" y="290381"/>
                      <a:pt x="487711" y="290382"/>
                      <a:pt x="487709" y="290382"/>
                    </a:cubicBezTo>
                    <a:lnTo>
                      <a:pt x="486150" y="290474"/>
                    </a:lnTo>
                    <a:lnTo>
                      <a:pt x="488742" y="296824"/>
                    </a:lnTo>
                    <a:lnTo>
                      <a:pt x="494320" y="295556"/>
                    </a:lnTo>
                    <a:cubicBezTo>
                      <a:pt x="500644" y="296131"/>
                      <a:pt x="506393" y="294406"/>
                      <a:pt x="512429" y="291820"/>
                    </a:cubicBezTo>
                    <a:cubicBezTo>
                      <a:pt x="515304" y="290526"/>
                      <a:pt x="517172" y="288730"/>
                      <a:pt x="519005" y="287509"/>
                    </a:cubicBezTo>
                    <a:lnTo>
                      <a:pt x="520508" y="286839"/>
                    </a:lnTo>
                    <a:lnTo>
                      <a:pt x="522424" y="286502"/>
                    </a:lnTo>
                    <a:lnTo>
                      <a:pt x="523091" y="286385"/>
                    </a:lnTo>
                    <a:lnTo>
                      <a:pt x="525364" y="286646"/>
                    </a:lnTo>
                    <a:cubicBezTo>
                      <a:pt x="530826" y="288371"/>
                      <a:pt x="531976" y="291532"/>
                      <a:pt x="533413" y="297855"/>
                    </a:cubicBezTo>
                    <a:cubicBezTo>
                      <a:pt x="534850" y="304178"/>
                      <a:pt x="530826" y="316249"/>
                      <a:pt x="530826" y="316249"/>
                    </a:cubicBezTo>
                    <a:cubicBezTo>
                      <a:pt x="530826" y="316249"/>
                      <a:pt x="530763" y="316891"/>
                      <a:pt x="530588" y="318085"/>
                    </a:cubicBezTo>
                    <a:lnTo>
                      <a:pt x="530192" y="320320"/>
                    </a:lnTo>
                    <a:lnTo>
                      <a:pt x="529838" y="321637"/>
                    </a:lnTo>
                    <a:lnTo>
                      <a:pt x="526883" y="332653"/>
                    </a:lnTo>
                    <a:lnTo>
                      <a:pt x="524435" y="341781"/>
                    </a:lnTo>
                    <a:lnTo>
                      <a:pt x="519934" y="353045"/>
                    </a:lnTo>
                    <a:cubicBezTo>
                      <a:pt x="514343" y="365490"/>
                      <a:pt x="505962" y="379622"/>
                      <a:pt x="493458" y="392987"/>
                    </a:cubicBezTo>
                    <a:cubicBezTo>
                      <a:pt x="468666" y="419716"/>
                      <a:pt x="437567" y="410878"/>
                      <a:pt x="421143" y="403455"/>
                    </a:cubicBezTo>
                    <a:lnTo>
                      <a:pt x="416615" y="401105"/>
                    </a:lnTo>
                    <a:cubicBezTo>
                      <a:pt x="416179" y="402174"/>
                      <a:pt x="404207" y="392253"/>
                      <a:pt x="403771" y="393322"/>
                    </a:cubicBezTo>
                    <a:cubicBezTo>
                      <a:pt x="395387" y="401831"/>
                      <a:pt x="388172" y="407234"/>
                      <a:pt x="381629" y="410745"/>
                    </a:cubicBezTo>
                    <a:cubicBezTo>
                      <a:pt x="375086" y="414256"/>
                      <a:pt x="370055" y="416767"/>
                      <a:pt x="364512" y="414388"/>
                    </a:cubicBezTo>
                    <a:lnTo>
                      <a:pt x="362260" y="412847"/>
                    </a:lnTo>
                    <a:lnTo>
                      <a:pt x="359508" y="412530"/>
                    </a:lnTo>
                    <a:lnTo>
                      <a:pt x="354180" y="409493"/>
                    </a:lnTo>
                    <a:lnTo>
                      <a:pt x="351263" y="406931"/>
                    </a:lnTo>
                    <a:lnTo>
                      <a:pt x="351015" y="406713"/>
                    </a:lnTo>
                    <a:lnTo>
                      <a:pt x="348397" y="403432"/>
                    </a:lnTo>
                    <a:lnTo>
                      <a:pt x="347445" y="401927"/>
                    </a:lnTo>
                    <a:lnTo>
                      <a:pt x="345319" y="397536"/>
                    </a:lnTo>
                    <a:cubicBezTo>
                      <a:pt x="344794" y="396166"/>
                      <a:pt x="344561" y="395286"/>
                      <a:pt x="344561" y="395286"/>
                    </a:cubicBezTo>
                    <a:lnTo>
                      <a:pt x="335650" y="375455"/>
                    </a:lnTo>
                    <a:cubicBezTo>
                      <a:pt x="335650" y="375455"/>
                      <a:pt x="327314" y="367408"/>
                      <a:pt x="322714" y="362234"/>
                    </a:cubicBezTo>
                    <a:lnTo>
                      <a:pt x="319648" y="358159"/>
                    </a:lnTo>
                    <a:lnTo>
                      <a:pt x="319434" y="357823"/>
                    </a:lnTo>
                    <a:lnTo>
                      <a:pt x="314734" y="350455"/>
                    </a:lnTo>
                    <a:cubicBezTo>
                      <a:pt x="314734" y="350455"/>
                      <a:pt x="310334" y="332411"/>
                      <a:pt x="319052" y="316733"/>
                    </a:cubicBezTo>
                    <a:lnTo>
                      <a:pt x="323333" y="310656"/>
                    </a:lnTo>
                    <a:lnTo>
                      <a:pt x="320679" y="310837"/>
                    </a:lnTo>
                    <a:cubicBezTo>
                      <a:pt x="319405" y="310763"/>
                      <a:pt x="318170" y="310498"/>
                      <a:pt x="316984" y="309959"/>
                    </a:cubicBezTo>
                    <a:cubicBezTo>
                      <a:pt x="307787" y="305647"/>
                      <a:pt x="281056" y="298172"/>
                      <a:pt x="278469" y="281787"/>
                    </a:cubicBezTo>
                    <a:cubicBezTo>
                      <a:pt x="276529" y="269497"/>
                      <a:pt x="275235" y="243140"/>
                      <a:pt x="279196" y="221148"/>
                    </a:cubicBezTo>
                    <a:lnTo>
                      <a:pt x="281137" y="212759"/>
                    </a:lnTo>
                    <a:lnTo>
                      <a:pt x="280817" y="212855"/>
                    </a:lnTo>
                    <a:lnTo>
                      <a:pt x="280074" y="213019"/>
                    </a:lnTo>
                    <a:cubicBezTo>
                      <a:pt x="269049" y="215467"/>
                      <a:pt x="223976" y="225587"/>
                      <a:pt x="208386" y="230868"/>
                    </a:cubicBezTo>
                    <a:cubicBezTo>
                      <a:pt x="190569" y="236902"/>
                      <a:pt x="148612" y="256155"/>
                      <a:pt x="129358" y="256155"/>
                    </a:cubicBezTo>
                    <a:cubicBezTo>
                      <a:pt x="102632" y="255868"/>
                      <a:pt x="76481" y="253856"/>
                      <a:pt x="76481" y="253856"/>
                    </a:cubicBezTo>
                    <a:cubicBezTo>
                      <a:pt x="76481" y="253856"/>
                      <a:pt x="66710" y="217649"/>
                      <a:pt x="56365" y="204718"/>
                    </a:cubicBezTo>
                    <a:cubicBezTo>
                      <a:pt x="45732" y="191787"/>
                      <a:pt x="12971" y="165062"/>
                      <a:pt x="6361" y="145234"/>
                    </a:cubicBezTo>
                    <a:cubicBezTo>
                      <a:pt x="39" y="125119"/>
                      <a:pt x="-3409" y="109027"/>
                      <a:pt x="4924" y="90923"/>
                    </a:cubicBezTo>
                    <a:cubicBezTo>
                      <a:pt x="12971" y="73107"/>
                      <a:pt x="26190" y="62762"/>
                      <a:pt x="26190" y="62762"/>
                    </a:cubicBezTo>
                    <a:lnTo>
                      <a:pt x="51192" y="63624"/>
                    </a:lnTo>
                    <a:cubicBezTo>
                      <a:pt x="62399" y="65061"/>
                      <a:pt x="80217" y="68222"/>
                      <a:pt x="92574" y="72245"/>
                    </a:cubicBezTo>
                    <a:cubicBezTo>
                      <a:pt x="104644" y="76268"/>
                      <a:pt x="148899" y="97533"/>
                      <a:pt x="148899" y="97533"/>
                    </a:cubicBezTo>
                    <a:lnTo>
                      <a:pt x="100620" y="70233"/>
                    </a:lnTo>
                    <a:lnTo>
                      <a:pt x="68722" y="57877"/>
                    </a:lnTo>
                    <a:cubicBezTo>
                      <a:pt x="68722" y="57877"/>
                      <a:pt x="82803" y="49544"/>
                      <a:pt x="95735" y="33739"/>
                    </a:cubicBezTo>
                    <a:cubicBezTo>
                      <a:pt x="108667" y="17934"/>
                      <a:pt x="109816" y="12187"/>
                      <a:pt x="118438" y="6440"/>
                    </a:cubicBezTo>
                    <a:cubicBezTo>
                      <a:pt x="124904" y="2345"/>
                      <a:pt x="129268" y="513"/>
                      <a:pt x="135290" y="95"/>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IN" sz="1961" b="1" kern="0" dirty="0">
                  <a:solidFill>
                    <a:schemeClr val="bg1"/>
                  </a:solidFill>
                  <a:ea typeface="Segoe UI" pitchFamily="34" charset="0"/>
                  <a:cs typeface="Segoe UI" pitchFamily="34" charset="0"/>
                </a:endParaRPr>
              </a:p>
            </p:txBody>
          </p:sp>
          <p:sp>
            <p:nvSpPr>
              <p:cNvPr id="23" name="Freeform 22"/>
              <p:cNvSpPr>
                <a:spLocks/>
              </p:cNvSpPr>
              <p:nvPr/>
            </p:nvSpPr>
            <p:spPr bwMode="auto">
              <a:xfrm>
                <a:off x="1203881" y="3576757"/>
                <a:ext cx="290830" cy="297796"/>
              </a:xfrm>
              <a:custGeom>
                <a:avLst/>
                <a:gdLst>
                  <a:gd name="connsiteX0" fmla="*/ 1222186 w 2129049"/>
                  <a:gd name="connsiteY0" fmla="*/ 1839320 h 2180047"/>
                  <a:gd name="connsiteX1" fmla="*/ 1208400 w 2129049"/>
                  <a:gd name="connsiteY1" fmla="*/ 1841119 h 2180047"/>
                  <a:gd name="connsiteX2" fmla="*/ 1186099 w 2129049"/>
                  <a:gd name="connsiteY2" fmla="*/ 1843640 h 2180047"/>
                  <a:gd name="connsiteX3" fmla="*/ 1188379 w 2129049"/>
                  <a:gd name="connsiteY3" fmla="*/ 1844841 h 2180047"/>
                  <a:gd name="connsiteX4" fmla="*/ 1243194 w 2129049"/>
                  <a:gd name="connsiteY4" fmla="*/ 1939957 h 2180047"/>
                  <a:gd name="connsiteX5" fmla="*/ 1223702 w 2129049"/>
                  <a:gd name="connsiteY5" fmla="*/ 1853174 h 2180047"/>
                  <a:gd name="connsiteX6" fmla="*/ 1222569 w 2129049"/>
                  <a:gd name="connsiteY6" fmla="*/ 1839342 h 2180047"/>
                  <a:gd name="connsiteX7" fmla="*/ 441891 w 2129049"/>
                  <a:gd name="connsiteY7" fmla="*/ 1746105 h 2180047"/>
                  <a:gd name="connsiteX8" fmla="*/ 450977 w 2129049"/>
                  <a:gd name="connsiteY8" fmla="*/ 1757606 h 2180047"/>
                  <a:gd name="connsiteX9" fmla="*/ 707370 w 2129049"/>
                  <a:gd name="connsiteY9" fmla="*/ 1976776 h 2180047"/>
                  <a:gd name="connsiteX10" fmla="*/ 766453 w 2129049"/>
                  <a:gd name="connsiteY10" fmla="*/ 2010648 h 2180047"/>
                  <a:gd name="connsiteX11" fmla="*/ 831225 w 2129049"/>
                  <a:gd name="connsiteY11" fmla="*/ 2015356 h 2180047"/>
                  <a:gd name="connsiteX12" fmla="*/ 999836 w 2129049"/>
                  <a:gd name="connsiteY12" fmla="*/ 2014732 h 2180047"/>
                  <a:gd name="connsiteX13" fmla="*/ 1033552 w 2129049"/>
                  <a:gd name="connsiteY13" fmla="*/ 2011934 h 2180047"/>
                  <a:gd name="connsiteX14" fmla="*/ 1030508 w 2129049"/>
                  <a:gd name="connsiteY14" fmla="*/ 1991231 h 2180047"/>
                  <a:gd name="connsiteX15" fmla="*/ 1069280 w 2129049"/>
                  <a:gd name="connsiteY15" fmla="*/ 1869985 h 2180047"/>
                  <a:gd name="connsiteX16" fmla="*/ 1086998 w 2129049"/>
                  <a:gd name="connsiteY16" fmla="*/ 1852207 h 2180047"/>
                  <a:gd name="connsiteX17" fmla="*/ 1040249 w 2129049"/>
                  <a:gd name="connsiteY17" fmla="*/ 1855089 h 2180047"/>
                  <a:gd name="connsiteX18" fmla="*/ 700561 w 2129049"/>
                  <a:gd name="connsiteY18" fmla="*/ 1833012 h 2180047"/>
                  <a:gd name="connsiteX19" fmla="*/ 442094 w 2129049"/>
                  <a:gd name="connsiteY19" fmla="*/ 1746192 h 2180047"/>
                  <a:gd name="connsiteX20" fmla="*/ 1059954 w 2129049"/>
                  <a:gd name="connsiteY20" fmla="*/ 1504433 h 2180047"/>
                  <a:gd name="connsiteX21" fmla="*/ 1137935 w 2129049"/>
                  <a:gd name="connsiteY21" fmla="*/ 1553560 h 2180047"/>
                  <a:gd name="connsiteX22" fmla="*/ 1232714 w 2129049"/>
                  <a:gd name="connsiteY22" fmla="*/ 1597039 h 2180047"/>
                  <a:gd name="connsiteX23" fmla="*/ 1498003 w 2129049"/>
                  <a:gd name="connsiteY23" fmla="*/ 1620193 h 2180047"/>
                  <a:gd name="connsiteX24" fmla="*/ 1417995 w 2129049"/>
                  <a:gd name="connsiteY24" fmla="*/ 1660186 h 2180047"/>
                  <a:gd name="connsiteX25" fmla="*/ 1260085 w 2129049"/>
                  <a:gd name="connsiteY25" fmla="*/ 1660186 h 2180047"/>
                  <a:gd name="connsiteX26" fmla="*/ 1110597 w 2129049"/>
                  <a:gd name="connsiteY26" fmla="*/ 1640189 h 2180047"/>
                  <a:gd name="connsiteX27" fmla="*/ 1099046 w 2129049"/>
                  <a:gd name="connsiteY27" fmla="*/ 1638682 h 2180047"/>
                  <a:gd name="connsiteX28" fmla="*/ 251840 w 2129049"/>
                  <a:gd name="connsiteY28" fmla="*/ 316333 h 2180047"/>
                  <a:gd name="connsiteX29" fmla="*/ 246796 w 2129049"/>
                  <a:gd name="connsiteY29" fmla="*/ 329846 h 2180047"/>
                  <a:gd name="connsiteX30" fmla="*/ 161902 w 2129049"/>
                  <a:gd name="connsiteY30" fmla="*/ 686152 h 2180047"/>
                  <a:gd name="connsiteX31" fmla="*/ 163319 w 2129049"/>
                  <a:gd name="connsiteY31" fmla="*/ 765157 h 2180047"/>
                  <a:gd name="connsiteX32" fmla="*/ 168120 w 2129049"/>
                  <a:gd name="connsiteY32" fmla="*/ 772124 h 2180047"/>
                  <a:gd name="connsiteX33" fmla="*/ 462568 w 2129049"/>
                  <a:gd name="connsiteY33" fmla="*/ 1054574 h 2180047"/>
                  <a:gd name="connsiteX34" fmla="*/ 1083519 w 2129049"/>
                  <a:gd name="connsiteY34" fmla="*/ 1296666 h 2180047"/>
                  <a:gd name="connsiteX35" fmla="*/ 1112988 w 2129049"/>
                  <a:gd name="connsiteY35" fmla="*/ 1212460 h 2180047"/>
                  <a:gd name="connsiteX36" fmla="*/ 635171 w 2129049"/>
                  <a:gd name="connsiteY36" fmla="*/ 913528 h 2180047"/>
                  <a:gd name="connsiteX37" fmla="*/ 256327 w 2129049"/>
                  <a:gd name="connsiteY37" fmla="*/ 344726 h 2180047"/>
                  <a:gd name="connsiteX38" fmla="*/ 203697 w 2129049"/>
                  <a:gd name="connsiteY38" fmla="*/ 216555 h 2180047"/>
                  <a:gd name="connsiteX39" fmla="*/ 195507 w 2129049"/>
                  <a:gd name="connsiteY39" fmla="*/ 224152 h 2180047"/>
                  <a:gd name="connsiteX40" fmla="*/ 153435 w 2129049"/>
                  <a:gd name="connsiteY40" fmla="*/ 280530 h 2180047"/>
                  <a:gd name="connsiteX41" fmla="*/ 119142 w 2129049"/>
                  <a:gd name="connsiteY41" fmla="*/ 338248 h 2180047"/>
                  <a:gd name="connsiteX42" fmla="*/ 162420 w 2129049"/>
                  <a:gd name="connsiteY42" fmla="*/ 270250 h 2180047"/>
                  <a:gd name="connsiteX43" fmla="*/ 200473 w 2129049"/>
                  <a:gd name="connsiteY43" fmla="*/ 220227 h 2180047"/>
                  <a:gd name="connsiteX44" fmla="*/ 545326 w 2129049"/>
                  <a:gd name="connsiteY44" fmla="*/ 37476 h 2180047"/>
                  <a:gd name="connsiteX45" fmla="*/ 541800 w 2129049"/>
                  <a:gd name="connsiteY45" fmla="*/ 40991 h 2180047"/>
                  <a:gd name="connsiteX46" fmla="*/ 536701 w 2129049"/>
                  <a:gd name="connsiteY46" fmla="*/ 46149 h 2180047"/>
                  <a:gd name="connsiteX47" fmla="*/ 940947 w 2129049"/>
                  <a:gd name="connsiteY47" fmla="*/ 939893 h 2180047"/>
                  <a:gd name="connsiteX48" fmla="*/ 978333 w 2129049"/>
                  <a:gd name="connsiteY48" fmla="*/ 993267 h 2180047"/>
                  <a:gd name="connsiteX49" fmla="*/ 1095859 w 2129049"/>
                  <a:gd name="connsiteY49" fmla="*/ 1039243 h 2180047"/>
                  <a:gd name="connsiteX50" fmla="*/ 1131484 w 2129049"/>
                  <a:gd name="connsiteY50" fmla="*/ 1124187 h 2180047"/>
                  <a:gd name="connsiteX51" fmla="*/ 1146506 w 2129049"/>
                  <a:gd name="connsiteY51" fmla="*/ 1133109 h 2180047"/>
                  <a:gd name="connsiteX52" fmla="*/ 1148541 w 2129049"/>
                  <a:gd name="connsiteY52" fmla="*/ 1133748 h 2180047"/>
                  <a:gd name="connsiteX53" fmla="*/ 1141842 w 2129049"/>
                  <a:gd name="connsiteY53" fmla="*/ 1144915 h 2180047"/>
                  <a:gd name="connsiteX54" fmla="*/ 1141505 w 2129049"/>
                  <a:gd name="connsiteY54" fmla="*/ 1145660 h 2180047"/>
                  <a:gd name="connsiteX55" fmla="*/ 1187973 w 2129049"/>
                  <a:gd name="connsiteY55" fmla="*/ 1232630 h 2180047"/>
                  <a:gd name="connsiteX56" fmla="*/ 1289562 w 2129049"/>
                  <a:gd name="connsiteY56" fmla="*/ 1373921 h 2180047"/>
                  <a:gd name="connsiteX57" fmla="*/ 1531690 w 2129049"/>
                  <a:gd name="connsiteY57" fmla="*/ 1481270 h 2180047"/>
                  <a:gd name="connsiteX58" fmla="*/ 1426417 w 2129049"/>
                  <a:gd name="connsiteY58" fmla="*/ 1496004 h 2180047"/>
                  <a:gd name="connsiteX59" fmla="*/ 1194816 w 2129049"/>
                  <a:gd name="connsiteY59" fmla="*/ 1399179 h 2180047"/>
                  <a:gd name="connsiteX60" fmla="*/ 1145436 w 2129049"/>
                  <a:gd name="connsiteY60" fmla="*/ 1340670 h 2180047"/>
                  <a:gd name="connsiteX61" fmla="*/ 1091189 w 2129049"/>
                  <a:gd name="connsiteY61" fmla="*/ 1275923 h 2180047"/>
                  <a:gd name="connsiteX62" fmla="*/ 1064249 w 2129049"/>
                  <a:gd name="connsiteY62" fmla="*/ 1369079 h 2180047"/>
                  <a:gd name="connsiteX63" fmla="*/ 1046007 w 2129049"/>
                  <a:gd name="connsiteY63" fmla="*/ 1483657 h 2180047"/>
                  <a:gd name="connsiteX64" fmla="*/ 1046013 w 2129049"/>
                  <a:gd name="connsiteY64" fmla="*/ 1495461 h 2180047"/>
                  <a:gd name="connsiteX65" fmla="*/ 1012870 w 2129049"/>
                  <a:gd name="connsiteY65" fmla="*/ 1487283 h 2180047"/>
                  <a:gd name="connsiteX66" fmla="*/ 561761 w 2129049"/>
                  <a:gd name="connsiteY66" fmla="*/ 1355377 h 2180047"/>
                  <a:gd name="connsiteX67" fmla="*/ 245802 w 2129049"/>
                  <a:gd name="connsiteY67" fmla="*/ 1165644 h 2180047"/>
                  <a:gd name="connsiteX68" fmla="*/ 203985 w 2129049"/>
                  <a:gd name="connsiteY68" fmla="*/ 1132152 h 2180047"/>
                  <a:gd name="connsiteX69" fmla="*/ 234345 w 2129049"/>
                  <a:gd name="connsiteY69" fmla="*/ 1297625 h 2180047"/>
                  <a:gd name="connsiteX70" fmla="*/ 260418 w 2129049"/>
                  <a:gd name="connsiteY70" fmla="*/ 1401636 h 2180047"/>
                  <a:gd name="connsiteX71" fmla="*/ 276086 w 2129049"/>
                  <a:gd name="connsiteY71" fmla="*/ 1451374 h 2180047"/>
                  <a:gd name="connsiteX72" fmla="*/ 305709 w 2129049"/>
                  <a:gd name="connsiteY72" fmla="*/ 1466895 h 2180047"/>
                  <a:gd name="connsiteX73" fmla="*/ 561761 w 2129049"/>
                  <a:gd name="connsiteY73" fmla="*/ 1572001 h 2180047"/>
                  <a:gd name="connsiteX74" fmla="*/ 1106575 w 2129049"/>
                  <a:gd name="connsiteY74" fmla="*/ 1664539 h 2180047"/>
                  <a:gd name="connsiteX75" fmla="*/ 1106413 w 2129049"/>
                  <a:gd name="connsiteY75" fmla="*/ 1663981 h 2180047"/>
                  <a:gd name="connsiteX76" fmla="*/ 1109394 w 2129049"/>
                  <a:gd name="connsiteY76" fmla="*/ 1669032 h 2180047"/>
                  <a:gd name="connsiteX77" fmla="*/ 1145872 w 2129049"/>
                  <a:gd name="connsiteY77" fmla="*/ 1724864 h 2180047"/>
                  <a:gd name="connsiteX78" fmla="*/ 1151390 w 2129049"/>
                  <a:gd name="connsiteY78" fmla="*/ 1728726 h 2180047"/>
                  <a:gd name="connsiteX79" fmla="*/ 1244657 w 2129049"/>
                  <a:gd name="connsiteY79" fmla="*/ 1793994 h 2180047"/>
                  <a:gd name="connsiteX80" fmla="*/ 1255282 w 2129049"/>
                  <a:gd name="connsiteY80" fmla="*/ 1801430 h 2180047"/>
                  <a:gd name="connsiteX81" fmla="*/ 1259765 w 2129049"/>
                  <a:gd name="connsiteY81" fmla="*/ 1803273 h 2180047"/>
                  <a:gd name="connsiteX82" fmla="*/ 1262425 w 2129049"/>
                  <a:gd name="connsiteY82" fmla="*/ 1805592 h 2180047"/>
                  <a:gd name="connsiteX83" fmla="*/ 1274330 w 2129049"/>
                  <a:gd name="connsiteY83" fmla="*/ 1811179 h 2180047"/>
                  <a:gd name="connsiteX84" fmla="*/ 1470632 w 2129049"/>
                  <a:gd name="connsiteY84" fmla="*/ 1851731 h 2180047"/>
                  <a:gd name="connsiteX85" fmla="*/ 1337987 w 2129049"/>
                  <a:gd name="connsiteY85" fmla="*/ 1879094 h 2180047"/>
                  <a:gd name="connsiteX86" fmla="*/ 1331095 w 2129049"/>
                  <a:gd name="connsiteY86" fmla="*/ 1878426 h 2180047"/>
                  <a:gd name="connsiteX87" fmla="*/ 1337882 w 2129049"/>
                  <a:gd name="connsiteY87" fmla="*/ 1887387 h 2180047"/>
                  <a:gd name="connsiteX88" fmla="*/ 2129049 w 2129049"/>
                  <a:gd name="connsiteY88" fmla="*/ 1929443 h 2180047"/>
                  <a:gd name="connsiteX89" fmla="*/ 1413632 w 2129049"/>
                  <a:gd name="connsiteY89" fmla="*/ 2169166 h 2180047"/>
                  <a:gd name="connsiteX90" fmla="*/ 1301496 w 2129049"/>
                  <a:gd name="connsiteY90" fmla="*/ 2177335 h 2180047"/>
                  <a:gd name="connsiteX91" fmla="*/ 1281595 w 2129049"/>
                  <a:gd name="connsiteY91" fmla="*/ 2175656 h 2180047"/>
                  <a:gd name="connsiteX92" fmla="*/ 1272759 w 2129049"/>
                  <a:gd name="connsiteY92" fmla="*/ 2177928 h 2180047"/>
                  <a:gd name="connsiteX93" fmla="*/ 1063402 w 2129049"/>
                  <a:gd name="connsiteY93" fmla="*/ 2155016 h 2180047"/>
                  <a:gd name="connsiteX94" fmla="*/ 994039 w 2129049"/>
                  <a:gd name="connsiteY94" fmla="*/ 2133739 h 2180047"/>
                  <a:gd name="connsiteX95" fmla="*/ 954380 w 2129049"/>
                  <a:gd name="connsiteY95" fmla="*/ 2125140 h 2180047"/>
                  <a:gd name="connsiteX96" fmla="*/ 485181 w 2129049"/>
                  <a:gd name="connsiteY96" fmla="*/ 1869194 h 2180047"/>
                  <a:gd name="connsiteX97" fmla="*/ 424111 w 2129049"/>
                  <a:gd name="connsiteY97" fmla="*/ 1817746 h 2180047"/>
                  <a:gd name="connsiteX98" fmla="*/ 407264 w 2129049"/>
                  <a:gd name="connsiteY98" fmla="*/ 1804650 h 2180047"/>
                  <a:gd name="connsiteX99" fmla="*/ 400242 w 2129049"/>
                  <a:gd name="connsiteY99" fmla="*/ 1797638 h 2180047"/>
                  <a:gd name="connsiteX100" fmla="*/ 373060 w 2129049"/>
                  <a:gd name="connsiteY100" fmla="*/ 1774739 h 2180047"/>
                  <a:gd name="connsiteX101" fmla="*/ 178723 w 2129049"/>
                  <a:gd name="connsiteY101" fmla="*/ 1546546 h 2180047"/>
                  <a:gd name="connsiteX102" fmla="*/ 0 w 2129049"/>
                  <a:gd name="connsiteY102" fmla="*/ 780817 h 2180047"/>
                  <a:gd name="connsiteX103" fmla="*/ 75177 w 2129049"/>
                  <a:gd name="connsiteY103" fmla="*/ 424975 h 2180047"/>
                  <a:gd name="connsiteX104" fmla="*/ 118668 w 2129049"/>
                  <a:gd name="connsiteY104" fmla="*/ 339046 h 2180047"/>
                  <a:gd name="connsiteX105" fmla="*/ 116953 w 2129049"/>
                  <a:gd name="connsiteY105" fmla="*/ 341932 h 2180047"/>
                  <a:gd name="connsiteX106" fmla="*/ 93993 w 2129049"/>
                  <a:gd name="connsiteY106" fmla="*/ 385485 h 2180047"/>
                  <a:gd name="connsiteX107" fmla="*/ 93509 w 2129049"/>
                  <a:gd name="connsiteY107" fmla="*/ 386464 h 2180047"/>
                  <a:gd name="connsiteX108" fmla="*/ 95671 w 2129049"/>
                  <a:gd name="connsiteY108" fmla="*/ 380966 h 2180047"/>
                  <a:gd name="connsiteX109" fmla="*/ 182624 w 2129049"/>
                  <a:gd name="connsiteY109" fmla="*/ 235436 h 2180047"/>
                  <a:gd name="connsiteX110" fmla="*/ 478385 w 2129049"/>
                  <a:gd name="connsiteY110" fmla="*/ 56179 h 2180047"/>
                  <a:gd name="connsiteX111" fmla="*/ 999928 w 2129049"/>
                  <a:gd name="connsiteY111" fmla="*/ 0 h 2180047"/>
                  <a:gd name="connsiteX112" fmla="*/ 1676449 w 2129049"/>
                  <a:gd name="connsiteY112" fmla="*/ 525838 h 2180047"/>
                  <a:gd name="connsiteX113" fmla="*/ 1579666 w 2129049"/>
                  <a:gd name="connsiteY113" fmla="*/ 999319 h 2180047"/>
                  <a:gd name="connsiteX114" fmla="*/ 1467605 w 2129049"/>
                  <a:gd name="connsiteY114" fmla="*/ 1154947 h 2180047"/>
                  <a:gd name="connsiteX115" fmla="*/ 1464597 w 2129049"/>
                  <a:gd name="connsiteY115" fmla="*/ 1153889 h 2180047"/>
                  <a:gd name="connsiteX116" fmla="*/ 1452025 w 2129049"/>
                  <a:gd name="connsiteY116" fmla="*/ 1125910 h 2180047"/>
                  <a:gd name="connsiteX117" fmla="*/ 1421781 w 2129049"/>
                  <a:gd name="connsiteY117" fmla="*/ 1058603 h 2180047"/>
                  <a:gd name="connsiteX118" fmla="*/ 1327088 w 2129049"/>
                  <a:gd name="connsiteY118" fmla="*/ 961820 h 2180047"/>
                  <a:gd name="connsiteX119" fmla="*/ 1304643 w 2129049"/>
                  <a:gd name="connsiteY119" fmla="*/ 931982 h 2180047"/>
                  <a:gd name="connsiteX120" fmla="*/ 1303076 w 2129049"/>
                  <a:gd name="connsiteY120" fmla="*/ 929526 h 2180047"/>
                  <a:gd name="connsiteX121" fmla="*/ 1268667 w 2129049"/>
                  <a:gd name="connsiteY121" fmla="*/ 875590 h 2180047"/>
                  <a:gd name="connsiteX122" fmla="*/ 1300274 w 2129049"/>
                  <a:gd name="connsiteY122" fmla="*/ 628723 h 2180047"/>
                  <a:gd name="connsiteX123" fmla="*/ 1307563 w 2129049"/>
                  <a:gd name="connsiteY123" fmla="*/ 618378 h 2180047"/>
                  <a:gd name="connsiteX124" fmla="*/ 1298642 w 2129049"/>
                  <a:gd name="connsiteY124" fmla="*/ 596988 h 2180047"/>
                  <a:gd name="connsiteX125" fmla="*/ 1292154 w 2129049"/>
                  <a:gd name="connsiteY125" fmla="*/ 580800 h 2180047"/>
                  <a:gd name="connsiteX126" fmla="*/ 1285141 w 2129049"/>
                  <a:gd name="connsiteY126" fmla="*/ 579133 h 2180047"/>
                  <a:gd name="connsiteX127" fmla="*/ 1003184 w 2129049"/>
                  <a:gd name="connsiteY127" fmla="*/ 372896 h 2180047"/>
                  <a:gd name="connsiteX128" fmla="*/ 993448 w 2129049"/>
                  <a:gd name="connsiteY128" fmla="*/ 53615 h 2180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2129049" h="2180047">
                    <a:moveTo>
                      <a:pt x="1222186" y="1839320"/>
                    </a:moveTo>
                    <a:cubicBezTo>
                      <a:pt x="1222186" y="1839320"/>
                      <a:pt x="1217322" y="1840010"/>
                      <a:pt x="1208400" y="1841119"/>
                    </a:cubicBezTo>
                    <a:lnTo>
                      <a:pt x="1186099" y="1843640"/>
                    </a:lnTo>
                    <a:lnTo>
                      <a:pt x="1188379" y="1844841"/>
                    </a:lnTo>
                    <a:cubicBezTo>
                      <a:pt x="1208837" y="1862152"/>
                      <a:pt x="1227939" y="1892644"/>
                      <a:pt x="1243194" y="1939957"/>
                    </a:cubicBezTo>
                    <a:cubicBezTo>
                      <a:pt x="1232936" y="1903158"/>
                      <a:pt x="1226723" y="1874737"/>
                      <a:pt x="1223702" y="1853174"/>
                    </a:cubicBezTo>
                    <a:lnTo>
                      <a:pt x="1222569" y="1839342"/>
                    </a:lnTo>
                    <a:close/>
                    <a:moveTo>
                      <a:pt x="441891" y="1746105"/>
                    </a:moveTo>
                    <a:lnTo>
                      <a:pt x="450977" y="1757606"/>
                    </a:lnTo>
                    <a:cubicBezTo>
                      <a:pt x="523579" y="1840277"/>
                      <a:pt x="612111" y="1915885"/>
                      <a:pt x="707370" y="1976776"/>
                    </a:cubicBezTo>
                    <a:lnTo>
                      <a:pt x="766453" y="2010648"/>
                    </a:lnTo>
                    <a:lnTo>
                      <a:pt x="831225" y="2015356"/>
                    </a:lnTo>
                    <a:cubicBezTo>
                      <a:pt x="884464" y="2017808"/>
                      <a:pt x="942877" y="2017788"/>
                      <a:pt x="999836" y="2014732"/>
                    </a:cubicBezTo>
                    <a:lnTo>
                      <a:pt x="1033552" y="2011934"/>
                    </a:lnTo>
                    <a:lnTo>
                      <a:pt x="1030508" y="1991231"/>
                    </a:lnTo>
                    <a:cubicBezTo>
                      <a:pt x="1029673" y="1945751"/>
                      <a:pt x="1045399" y="1901238"/>
                      <a:pt x="1069280" y="1869985"/>
                    </a:cubicBezTo>
                    <a:lnTo>
                      <a:pt x="1086998" y="1852207"/>
                    </a:lnTo>
                    <a:lnTo>
                      <a:pt x="1040249" y="1855089"/>
                    </a:lnTo>
                    <a:cubicBezTo>
                      <a:pt x="936134" y="1859819"/>
                      <a:pt x="805728" y="1858242"/>
                      <a:pt x="700561" y="1833012"/>
                    </a:cubicBezTo>
                    <a:cubicBezTo>
                      <a:pt x="607620" y="1810016"/>
                      <a:pt x="515887" y="1776557"/>
                      <a:pt x="442094" y="1746192"/>
                    </a:cubicBezTo>
                    <a:close/>
                    <a:moveTo>
                      <a:pt x="1059954" y="1504433"/>
                    </a:moveTo>
                    <a:lnTo>
                      <a:pt x="1137935" y="1553560"/>
                    </a:lnTo>
                    <a:cubicBezTo>
                      <a:pt x="1171787" y="1572701"/>
                      <a:pt x="1204817" y="1588620"/>
                      <a:pt x="1232714" y="1597039"/>
                    </a:cubicBezTo>
                    <a:cubicBezTo>
                      <a:pt x="1361148" y="1634927"/>
                      <a:pt x="1457999" y="1643347"/>
                      <a:pt x="1498003" y="1620193"/>
                    </a:cubicBezTo>
                    <a:cubicBezTo>
                      <a:pt x="1498003" y="1620193"/>
                      <a:pt x="1462210" y="1649661"/>
                      <a:pt x="1417995" y="1660186"/>
                    </a:cubicBezTo>
                    <a:cubicBezTo>
                      <a:pt x="1373780" y="1668605"/>
                      <a:pt x="1319038" y="1668605"/>
                      <a:pt x="1260085" y="1660186"/>
                    </a:cubicBezTo>
                    <a:cubicBezTo>
                      <a:pt x="1230609" y="1655976"/>
                      <a:pt x="1166918" y="1647556"/>
                      <a:pt x="1110597" y="1640189"/>
                    </a:cubicBezTo>
                    <a:lnTo>
                      <a:pt x="1099046" y="1638682"/>
                    </a:lnTo>
                    <a:close/>
                    <a:moveTo>
                      <a:pt x="251840" y="316333"/>
                    </a:moveTo>
                    <a:lnTo>
                      <a:pt x="246796" y="329846"/>
                    </a:lnTo>
                    <a:cubicBezTo>
                      <a:pt x="205006" y="446862"/>
                      <a:pt x="162954" y="588333"/>
                      <a:pt x="161902" y="686152"/>
                    </a:cubicBezTo>
                    <a:lnTo>
                      <a:pt x="163319" y="765157"/>
                    </a:lnTo>
                    <a:lnTo>
                      <a:pt x="168120" y="772124"/>
                    </a:lnTo>
                    <a:cubicBezTo>
                      <a:pt x="237177" y="866056"/>
                      <a:pt x="334563" y="972605"/>
                      <a:pt x="462568" y="1054574"/>
                    </a:cubicBezTo>
                    <a:cubicBezTo>
                      <a:pt x="755152" y="1239827"/>
                      <a:pt x="1083519" y="1296666"/>
                      <a:pt x="1083519" y="1296666"/>
                    </a:cubicBezTo>
                    <a:cubicBezTo>
                      <a:pt x="1112988" y="1212460"/>
                      <a:pt x="1112988" y="1212460"/>
                      <a:pt x="1112988" y="1212460"/>
                    </a:cubicBezTo>
                    <a:cubicBezTo>
                      <a:pt x="1112988" y="1212460"/>
                      <a:pt x="1058260" y="1208250"/>
                      <a:pt x="635171" y="913528"/>
                    </a:cubicBezTo>
                    <a:cubicBezTo>
                      <a:pt x="372057" y="730643"/>
                      <a:pt x="286544" y="495129"/>
                      <a:pt x="256327" y="344726"/>
                    </a:cubicBezTo>
                    <a:close/>
                    <a:moveTo>
                      <a:pt x="203697" y="216555"/>
                    </a:moveTo>
                    <a:lnTo>
                      <a:pt x="195507" y="224152"/>
                    </a:lnTo>
                    <a:cubicBezTo>
                      <a:pt x="181433" y="239566"/>
                      <a:pt x="166968" y="259629"/>
                      <a:pt x="153435" y="280530"/>
                    </a:cubicBezTo>
                    <a:lnTo>
                      <a:pt x="119142" y="338248"/>
                    </a:lnTo>
                    <a:lnTo>
                      <a:pt x="162420" y="270250"/>
                    </a:lnTo>
                    <a:cubicBezTo>
                      <a:pt x="176342" y="250442"/>
                      <a:pt x="189335" y="233719"/>
                      <a:pt x="200473" y="220227"/>
                    </a:cubicBezTo>
                    <a:close/>
                    <a:moveTo>
                      <a:pt x="545326" y="37476"/>
                    </a:moveTo>
                    <a:lnTo>
                      <a:pt x="541800" y="40991"/>
                    </a:lnTo>
                    <a:cubicBezTo>
                      <a:pt x="538494" y="44318"/>
                      <a:pt x="536701" y="46149"/>
                      <a:pt x="536701" y="46149"/>
                    </a:cubicBezTo>
                    <a:cubicBezTo>
                      <a:pt x="536701" y="131636"/>
                      <a:pt x="760164" y="665826"/>
                      <a:pt x="940947" y="939893"/>
                    </a:cubicBezTo>
                    <a:lnTo>
                      <a:pt x="978333" y="993267"/>
                    </a:lnTo>
                    <a:lnTo>
                      <a:pt x="1095859" y="1039243"/>
                    </a:lnTo>
                    <a:lnTo>
                      <a:pt x="1131484" y="1124187"/>
                    </a:lnTo>
                    <a:lnTo>
                      <a:pt x="1146506" y="1133109"/>
                    </a:lnTo>
                    <a:lnTo>
                      <a:pt x="1148541" y="1133748"/>
                    </a:lnTo>
                    <a:lnTo>
                      <a:pt x="1141842" y="1144915"/>
                    </a:lnTo>
                    <a:lnTo>
                      <a:pt x="1141505" y="1145660"/>
                    </a:lnTo>
                    <a:lnTo>
                      <a:pt x="1187973" y="1232630"/>
                    </a:lnTo>
                    <a:cubicBezTo>
                      <a:pt x="1223766" y="1293409"/>
                      <a:pt x="1261138" y="1345505"/>
                      <a:pt x="1289562" y="1373921"/>
                    </a:cubicBezTo>
                    <a:cubicBezTo>
                      <a:pt x="1344304" y="1428648"/>
                      <a:pt x="1426417" y="1496004"/>
                      <a:pt x="1531690" y="1481270"/>
                    </a:cubicBezTo>
                    <a:cubicBezTo>
                      <a:pt x="1531690" y="1481270"/>
                      <a:pt x="1476948" y="1504424"/>
                      <a:pt x="1426417" y="1496004"/>
                    </a:cubicBezTo>
                    <a:cubicBezTo>
                      <a:pt x="1377991" y="1485480"/>
                      <a:pt x="1245347" y="1456011"/>
                      <a:pt x="1194816" y="1399179"/>
                    </a:cubicBezTo>
                    <a:cubicBezTo>
                      <a:pt x="1182709" y="1384971"/>
                      <a:pt x="1165076" y="1364054"/>
                      <a:pt x="1145436" y="1340670"/>
                    </a:cubicBezTo>
                    <a:lnTo>
                      <a:pt x="1091189" y="1275923"/>
                    </a:lnTo>
                    <a:lnTo>
                      <a:pt x="1064249" y="1369079"/>
                    </a:lnTo>
                    <a:cubicBezTo>
                      <a:pt x="1054868" y="1409695"/>
                      <a:pt x="1048279" y="1449238"/>
                      <a:pt x="1046007" y="1483657"/>
                    </a:cubicBezTo>
                    <a:lnTo>
                      <a:pt x="1046013" y="1495461"/>
                    </a:lnTo>
                    <a:lnTo>
                      <a:pt x="1012870" y="1487283"/>
                    </a:lnTo>
                    <a:cubicBezTo>
                      <a:pt x="926987" y="1465792"/>
                      <a:pt x="733725" y="1415316"/>
                      <a:pt x="561761" y="1355377"/>
                    </a:cubicBezTo>
                    <a:cubicBezTo>
                      <a:pt x="461449" y="1320412"/>
                      <a:pt x="345032" y="1242374"/>
                      <a:pt x="245802" y="1165644"/>
                    </a:cubicBezTo>
                    <a:lnTo>
                      <a:pt x="203985" y="1132152"/>
                    </a:lnTo>
                    <a:lnTo>
                      <a:pt x="234345" y="1297625"/>
                    </a:lnTo>
                    <a:cubicBezTo>
                      <a:pt x="242410" y="1333469"/>
                      <a:pt x="251108" y="1368352"/>
                      <a:pt x="260418" y="1401636"/>
                    </a:cubicBezTo>
                    <a:lnTo>
                      <a:pt x="276086" y="1451374"/>
                    </a:lnTo>
                    <a:lnTo>
                      <a:pt x="305709" y="1466895"/>
                    </a:lnTo>
                    <a:cubicBezTo>
                      <a:pt x="373741" y="1500727"/>
                      <a:pt x="458919" y="1537496"/>
                      <a:pt x="561761" y="1572001"/>
                    </a:cubicBezTo>
                    <a:cubicBezTo>
                      <a:pt x="875187" y="1675055"/>
                      <a:pt x="1106575" y="1664539"/>
                      <a:pt x="1106575" y="1664539"/>
                    </a:cubicBezTo>
                    <a:lnTo>
                      <a:pt x="1106413" y="1663981"/>
                    </a:lnTo>
                    <a:lnTo>
                      <a:pt x="1109394" y="1669032"/>
                    </a:lnTo>
                    <a:lnTo>
                      <a:pt x="1145872" y="1724864"/>
                    </a:lnTo>
                    <a:lnTo>
                      <a:pt x="1151390" y="1728726"/>
                    </a:lnTo>
                    <a:cubicBezTo>
                      <a:pt x="1204685" y="1766022"/>
                      <a:pt x="1231333" y="1784670"/>
                      <a:pt x="1244657" y="1793994"/>
                    </a:cubicBezTo>
                    <a:lnTo>
                      <a:pt x="1255282" y="1801430"/>
                    </a:lnTo>
                    <a:lnTo>
                      <a:pt x="1259765" y="1803273"/>
                    </a:lnTo>
                    <a:lnTo>
                      <a:pt x="1262425" y="1805592"/>
                    </a:lnTo>
                    <a:lnTo>
                      <a:pt x="1274330" y="1811179"/>
                    </a:lnTo>
                    <a:cubicBezTo>
                      <a:pt x="1306011" y="1825288"/>
                      <a:pt x="1380623" y="1853310"/>
                      <a:pt x="1470632" y="1851731"/>
                    </a:cubicBezTo>
                    <a:cubicBezTo>
                      <a:pt x="1470632" y="1851731"/>
                      <a:pt x="1375886" y="1881199"/>
                      <a:pt x="1337987" y="1879094"/>
                    </a:cubicBezTo>
                    <a:lnTo>
                      <a:pt x="1331095" y="1878426"/>
                    </a:lnTo>
                    <a:lnTo>
                      <a:pt x="1337882" y="1887387"/>
                    </a:lnTo>
                    <a:cubicBezTo>
                      <a:pt x="1419945" y="2013557"/>
                      <a:pt x="2129049" y="1929443"/>
                      <a:pt x="2129049" y="1929443"/>
                    </a:cubicBezTo>
                    <a:cubicBezTo>
                      <a:pt x="2129049" y="1929443"/>
                      <a:pt x="2129049" y="1929443"/>
                      <a:pt x="1413632" y="2169166"/>
                    </a:cubicBezTo>
                    <a:cubicBezTo>
                      <a:pt x="1372338" y="2174818"/>
                      <a:pt x="1335063" y="2177389"/>
                      <a:pt x="1301496" y="2177335"/>
                    </a:cubicBezTo>
                    <a:lnTo>
                      <a:pt x="1281595" y="2175656"/>
                    </a:lnTo>
                    <a:lnTo>
                      <a:pt x="1272759" y="2177928"/>
                    </a:lnTo>
                    <a:cubicBezTo>
                      <a:pt x="1225811" y="2184118"/>
                      <a:pt x="1152027" y="2176826"/>
                      <a:pt x="1063402" y="2155016"/>
                    </a:cubicBezTo>
                    <a:lnTo>
                      <a:pt x="994039" y="2133739"/>
                    </a:lnTo>
                    <a:lnTo>
                      <a:pt x="954380" y="2125140"/>
                    </a:lnTo>
                    <a:cubicBezTo>
                      <a:pt x="795130" y="2082053"/>
                      <a:pt x="625466" y="1978945"/>
                      <a:pt x="485181" y="1869194"/>
                    </a:cubicBezTo>
                    <a:lnTo>
                      <a:pt x="424111" y="1817746"/>
                    </a:lnTo>
                    <a:lnTo>
                      <a:pt x="407264" y="1804650"/>
                    </a:lnTo>
                    <a:lnTo>
                      <a:pt x="400242" y="1797638"/>
                    </a:lnTo>
                    <a:lnTo>
                      <a:pt x="373060" y="1774739"/>
                    </a:lnTo>
                    <a:cubicBezTo>
                      <a:pt x="269990" y="1681147"/>
                      <a:pt x="196858" y="1593878"/>
                      <a:pt x="178723" y="1546546"/>
                    </a:cubicBezTo>
                    <a:cubicBezTo>
                      <a:pt x="92516" y="1378254"/>
                      <a:pt x="0" y="1054291"/>
                      <a:pt x="0" y="780817"/>
                    </a:cubicBezTo>
                    <a:cubicBezTo>
                      <a:pt x="0" y="639609"/>
                      <a:pt x="33412" y="519701"/>
                      <a:pt x="75177" y="424975"/>
                    </a:cubicBezTo>
                    <a:lnTo>
                      <a:pt x="118668" y="339046"/>
                    </a:lnTo>
                    <a:lnTo>
                      <a:pt x="116953" y="341932"/>
                    </a:lnTo>
                    <a:cubicBezTo>
                      <a:pt x="106605" y="360695"/>
                      <a:pt x="98512" y="376484"/>
                      <a:pt x="93993" y="385485"/>
                    </a:cubicBezTo>
                    <a:lnTo>
                      <a:pt x="93509" y="386464"/>
                    </a:lnTo>
                    <a:lnTo>
                      <a:pt x="95671" y="380966"/>
                    </a:lnTo>
                    <a:cubicBezTo>
                      <a:pt x="123713" y="321057"/>
                      <a:pt x="154747" y="273315"/>
                      <a:pt x="182624" y="235436"/>
                    </a:cubicBezTo>
                    <a:cubicBezTo>
                      <a:pt x="241010" y="154155"/>
                      <a:pt x="355019" y="96548"/>
                      <a:pt x="478385" y="56179"/>
                    </a:cubicBezTo>
                    <a:close/>
                    <a:moveTo>
                      <a:pt x="999928" y="0"/>
                    </a:moveTo>
                    <a:lnTo>
                      <a:pt x="1676449" y="525838"/>
                    </a:lnTo>
                    <a:cubicBezTo>
                      <a:pt x="1676449" y="525838"/>
                      <a:pt x="1594394" y="780465"/>
                      <a:pt x="1579666" y="999319"/>
                    </a:cubicBezTo>
                    <a:cubicBezTo>
                      <a:pt x="1570461" y="1136103"/>
                      <a:pt x="1517697" y="1165202"/>
                      <a:pt x="1467605" y="1154947"/>
                    </a:cubicBezTo>
                    <a:lnTo>
                      <a:pt x="1464597" y="1153889"/>
                    </a:lnTo>
                    <a:lnTo>
                      <a:pt x="1452025" y="1125910"/>
                    </a:lnTo>
                    <a:cubicBezTo>
                      <a:pt x="1443951" y="1107940"/>
                      <a:pt x="1434013" y="1085824"/>
                      <a:pt x="1421781" y="1058603"/>
                    </a:cubicBezTo>
                    <a:cubicBezTo>
                      <a:pt x="1421781" y="1058603"/>
                      <a:pt x="1360757" y="999691"/>
                      <a:pt x="1327088" y="961820"/>
                    </a:cubicBezTo>
                    <a:lnTo>
                      <a:pt x="1304643" y="931982"/>
                    </a:lnTo>
                    <a:lnTo>
                      <a:pt x="1303076" y="929526"/>
                    </a:lnTo>
                    <a:cubicBezTo>
                      <a:pt x="1268667" y="875590"/>
                      <a:pt x="1268667" y="875590"/>
                      <a:pt x="1268667" y="875590"/>
                    </a:cubicBezTo>
                    <a:cubicBezTo>
                      <a:pt x="1268667" y="875590"/>
                      <a:pt x="1236457" y="743498"/>
                      <a:pt x="1300274" y="628723"/>
                    </a:cubicBezTo>
                    <a:lnTo>
                      <a:pt x="1307563" y="618378"/>
                    </a:lnTo>
                    <a:lnTo>
                      <a:pt x="1298642" y="596988"/>
                    </a:lnTo>
                    <a:lnTo>
                      <a:pt x="1292154" y="580800"/>
                    </a:lnTo>
                    <a:lnTo>
                      <a:pt x="1285141" y="579133"/>
                    </a:lnTo>
                    <a:cubicBezTo>
                      <a:pt x="1217808" y="547566"/>
                      <a:pt x="1022122" y="492850"/>
                      <a:pt x="1003184" y="372896"/>
                    </a:cubicBezTo>
                    <a:cubicBezTo>
                      <a:pt x="992533" y="305422"/>
                      <a:pt x="984544" y="180018"/>
                      <a:pt x="993448" y="53615"/>
                    </a:cubicBezTo>
                    <a:close/>
                  </a:path>
                </a:pathLst>
              </a:custGeom>
              <a:solidFill>
                <a:srgbClr val="FAED22"/>
              </a:solidFill>
              <a:ln w="3175" cap="flat">
                <a:solidFill>
                  <a:schemeClr val="tx1"/>
                </a:solidFill>
                <a:prstDash val="solid"/>
                <a:miter lim="800000"/>
                <a:headEnd/>
                <a:tailEnd/>
              </a:ln>
            </p:spPr>
            <p:txBody>
              <a:bodyPr vert="horz" wrap="square" lIns="89642" tIns="44821" rIns="89642" bIns="44821" numCol="1" anchor="t" anchorCtr="0" compatLnSpc="1">
                <a:prstTxWarp prst="textNoShape">
                  <a:avLst/>
                </a:prstTxWarp>
                <a:noAutofit/>
              </a:bodyPr>
              <a:lstStyle/>
              <a:p>
                <a:pPr defTabSz="896386"/>
                <a:endParaRPr lang="en-IN" sz="1765" kern="0">
                  <a:solidFill>
                    <a:sysClr val="windowText" lastClr="000000"/>
                  </a:solidFill>
                </a:endParaRPr>
              </a:p>
            </p:txBody>
          </p:sp>
          <p:sp>
            <p:nvSpPr>
              <p:cNvPr id="25" name="Freeform 24"/>
              <p:cNvSpPr>
                <a:spLocks/>
              </p:cNvSpPr>
              <p:nvPr/>
            </p:nvSpPr>
            <p:spPr bwMode="auto">
              <a:xfrm>
                <a:off x="1058398" y="3354141"/>
                <a:ext cx="533724" cy="414349"/>
              </a:xfrm>
              <a:custGeom>
                <a:avLst/>
                <a:gdLst>
                  <a:gd name="connsiteX0" fmla="*/ 3283994 w 3907177"/>
                  <a:gd name="connsiteY0" fmla="*/ 2199606 h 3033282"/>
                  <a:gd name="connsiteX1" fmla="*/ 3216771 w 3907177"/>
                  <a:gd name="connsiteY1" fmla="*/ 2237508 h 3033282"/>
                  <a:gd name="connsiteX2" fmla="*/ 3176070 w 3907177"/>
                  <a:gd name="connsiteY2" fmla="*/ 2287254 h 3033282"/>
                  <a:gd name="connsiteX3" fmla="*/ 3157902 w 3907177"/>
                  <a:gd name="connsiteY3" fmla="*/ 2304911 h 3033282"/>
                  <a:gd name="connsiteX4" fmla="*/ 3148728 w 3907177"/>
                  <a:gd name="connsiteY4" fmla="*/ 2311436 h 3033282"/>
                  <a:gd name="connsiteX5" fmla="*/ 3136944 w 3907177"/>
                  <a:gd name="connsiteY5" fmla="*/ 2319628 h 3033282"/>
                  <a:gd name="connsiteX6" fmla="*/ 3154439 w 3907177"/>
                  <a:gd name="connsiteY6" fmla="*/ 2308277 h 3033282"/>
                  <a:gd name="connsiteX7" fmla="*/ 3157902 w 3907177"/>
                  <a:gd name="connsiteY7" fmla="*/ 2304911 h 3033282"/>
                  <a:gd name="connsiteX8" fmla="*/ 3176070 w 3907177"/>
                  <a:gd name="connsiteY8" fmla="*/ 2291992 h 3033282"/>
                  <a:gd name="connsiteX9" fmla="*/ 3229375 w 3907177"/>
                  <a:gd name="connsiteY9" fmla="*/ 2250142 h 3033282"/>
                  <a:gd name="connsiteX10" fmla="*/ 3317605 w 3907177"/>
                  <a:gd name="connsiteY10" fmla="*/ 2231191 h 3033282"/>
                  <a:gd name="connsiteX11" fmla="*/ 3378755 w 3907177"/>
                  <a:gd name="connsiteY11" fmla="*/ 2245404 h 3033282"/>
                  <a:gd name="connsiteX12" fmla="*/ 3382808 w 3907177"/>
                  <a:gd name="connsiteY12" fmla="*/ 2247161 h 3033282"/>
                  <a:gd name="connsiteX13" fmla="*/ 3351550 w 3907177"/>
                  <a:gd name="connsiteY13" fmla="*/ 2248260 h 3033282"/>
                  <a:gd name="connsiteX14" fmla="*/ 3315694 w 3907177"/>
                  <a:gd name="connsiteY14" fmla="*/ 2268558 h 3033282"/>
                  <a:gd name="connsiteX15" fmla="*/ 3248262 w 3907177"/>
                  <a:gd name="connsiteY15" fmla="*/ 2369622 h 3033282"/>
                  <a:gd name="connsiteX16" fmla="*/ 3195581 w 3907177"/>
                  <a:gd name="connsiteY16" fmla="*/ 2443314 h 3033282"/>
                  <a:gd name="connsiteX17" fmla="*/ 3288300 w 3907177"/>
                  <a:gd name="connsiteY17" fmla="*/ 2346462 h 3033282"/>
                  <a:gd name="connsiteX18" fmla="*/ 3334660 w 3907177"/>
                  <a:gd name="connsiteY18" fmla="*/ 2295930 h 3033282"/>
                  <a:gd name="connsiteX19" fmla="*/ 3404199 w 3907177"/>
                  <a:gd name="connsiteY19" fmla="*/ 2281191 h 3033282"/>
                  <a:gd name="connsiteX20" fmla="*/ 3442129 w 3907177"/>
                  <a:gd name="connsiteY20" fmla="*/ 2291719 h 3033282"/>
                  <a:gd name="connsiteX21" fmla="*/ 3448451 w 3907177"/>
                  <a:gd name="connsiteY21" fmla="*/ 2258031 h 3033282"/>
                  <a:gd name="connsiteX22" fmla="*/ 3432746 w 3907177"/>
                  <a:gd name="connsiteY22" fmla="*/ 2253458 h 3033282"/>
                  <a:gd name="connsiteX23" fmla="*/ 3399309 w 3907177"/>
                  <a:gd name="connsiteY23" fmla="*/ 2247403 h 3033282"/>
                  <a:gd name="connsiteX24" fmla="*/ 3406885 w 3907177"/>
                  <a:gd name="connsiteY24" fmla="*/ 2246720 h 3033282"/>
                  <a:gd name="connsiteX25" fmla="*/ 3422640 w 3907177"/>
                  <a:gd name="connsiteY25" fmla="*/ 2231191 h 3033282"/>
                  <a:gd name="connsiteX26" fmla="*/ 3370122 w 3907177"/>
                  <a:gd name="connsiteY26" fmla="*/ 2208029 h 3033282"/>
                  <a:gd name="connsiteX27" fmla="*/ 3283994 w 3907177"/>
                  <a:gd name="connsiteY27" fmla="*/ 2199606 h 3033282"/>
                  <a:gd name="connsiteX28" fmla="*/ 3868985 w 3907177"/>
                  <a:gd name="connsiteY28" fmla="*/ 2136388 h 3033282"/>
                  <a:gd name="connsiteX29" fmla="*/ 3734396 w 3907177"/>
                  <a:gd name="connsiteY29" fmla="*/ 2199444 h 3033282"/>
                  <a:gd name="connsiteX30" fmla="*/ 3559852 w 3907177"/>
                  <a:gd name="connsiteY30" fmla="*/ 2182629 h 3033282"/>
                  <a:gd name="connsiteX31" fmla="*/ 3641867 w 3907177"/>
                  <a:gd name="connsiteY31" fmla="*/ 2241481 h 3033282"/>
                  <a:gd name="connsiteX32" fmla="*/ 3702852 w 3907177"/>
                  <a:gd name="connsiteY32" fmla="*/ 2239379 h 3033282"/>
                  <a:gd name="connsiteX33" fmla="*/ 3831132 w 3907177"/>
                  <a:gd name="connsiteY33" fmla="*/ 2178425 h 3033282"/>
                  <a:gd name="connsiteX34" fmla="*/ 3868985 w 3907177"/>
                  <a:gd name="connsiteY34" fmla="*/ 2136388 h 3033282"/>
                  <a:gd name="connsiteX35" fmla="*/ 3385344 w 3907177"/>
                  <a:gd name="connsiteY35" fmla="*/ 2089937 h 3033282"/>
                  <a:gd name="connsiteX36" fmla="*/ 3403807 w 3907177"/>
                  <a:gd name="connsiteY36" fmla="*/ 2092045 h 3033282"/>
                  <a:gd name="connsiteX37" fmla="*/ 3420687 w 3907177"/>
                  <a:gd name="connsiteY37" fmla="*/ 2119439 h 3033282"/>
                  <a:gd name="connsiteX38" fmla="*/ 3410137 w 3907177"/>
                  <a:gd name="connsiteY38" fmla="*/ 2151048 h 3033282"/>
                  <a:gd name="connsiteX39" fmla="*/ 3380596 w 3907177"/>
                  <a:gd name="connsiteY39" fmla="*/ 2144726 h 3033282"/>
                  <a:gd name="connsiteX40" fmla="*/ 3353166 w 3907177"/>
                  <a:gd name="connsiteY40" fmla="*/ 2146834 h 3033282"/>
                  <a:gd name="connsiteX41" fmla="*/ 3353166 w 3907177"/>
                  <a:gd name="connsiteY41" fmla="*/ 2113117 h 3033282"/>
                  <a:gd name="connsiteX42" fmla="*/ 3370046 w 3907177"/>
                  <a:gd name="connsiteY42" fmla="*/ 2094152 h 3033282"/>
                  <a:gd name="connsiteX43" fmla="*/ 3385344 w 3907177"/>
                  <a:gd name="connsiteY43" fmla="*/ 2089937 h 3033282"/>
                  <a:gd name="connsiteX44" fmla="*/ 2921466 w 3907177"/>
                  <a:gd name="connsiteY44" fmla="*/ 1940074 h 3033282"/>
                  <a:gd name="connsiteX45" fmla="*/ 2876044 w 3907177"/>
                  <a:gd name="connsiteY45" fmla="*/ 1945069 h 3033282"/>
                  <a:gd name="connsiteX46" fmla="*/ 2796228 w 3907177"/>
                  <a:gd name="connsiteY46" fmla="*/ 1980818 h 3033282"/>
                  <a:gd name="connsiteX47" fmla="*/ 2716411 w 3907177"/>
                  <a:gd name="connsiteY47" fmla="*/ 2018670 h 3033282"/>
                  <a:gd name="connsiteX48" fmla="*/ 2773123 w 3907177"/>
                  <a:gd name="connsiteY48" fmla="*/ 2014464 h 3033282"/>
                  <a:gd name="connsiteX49" fmla="*/ 2813031 w 3907177"/>
                  <a:gd name="connsiteY49" fmla="*/ 2008155 h 3033282"/>
                  <a:gd name="connsiteX50" fmla="*/ 2810931 w 3907177"/>
                  <a:gd name="connsiteY50" fmla="*/ 2075448 h 3033282"/>
                  <a:gd name="connsiteX51" fmla="*/ 2825634 w 3907177"/>
                  <a:gd name="connsiteY51" fmla="*/ 2117505 h 3033282"/>
                  <a:gd name="connsiteX52" fmla="*/ 2817232 w 3907177"/>
                  <a:gd name="connsiteY52" fmla="*/ 2123814 h 3033282"/>
                  <a:gd name="connsiteX53" fmla="*/ 2773123 w 3907177"/>
                  <a:gd name="connsiteY53" fmla="*/ 2157460 h 3033282"/>
                  <a:gd name="connsiteX54" fmla="*/ 2848738 w 3907177"/>
                  <a:gd name="connsiteY54" fmla="*/ 2125917 h 3033282"/>
                  <a:gd name="connsiteX55" fmla="*/ 2941157 w 3907177"/>
                  <a:gd name="connsiteY55" fmla="*/ 2104888 h 3033282"/>
                  <a:gd name="connsiteX56" fmla="*/ 3111292 w 3907177"/>
                  <a:gd name="connsiteY56" fmla="*/ 2106991 h 3033282"/>
                  <a:gd name="connsiteX57" fmla="*/ 3056681 w 3907177"/>
                  <a:gd name="connsiteY57" fmla="*/ 2085962 h 3033282"/>
                  <a:gd name="connsiteX58" fmla="*/ 3016773 w 3907177"/>
                  <a:gd name="connsiteY58" fmla="*/ 2081756 h 3033282"/>
                  <a:gd name="connsiteX59" fmla="*/ 3023074 w 3907177"/>
                  <a:gd name="connsiteY59" fmla="*/ 2027081 h 3033282"/>
                  <a:gd name="connsiteX60" fmla="*/ 2995769 w 3907177"/>
                  <a:gd name="connsiteY60" fmla="*/ 1970303 h 3033282"/>
                  <a:gd name="connsiteX61" fmla="*/ 3018873 w 3907177"/>
                  <a:gd name="connsiteY61" fmla="*/ 1966098 h 3033282"/>
                  <a:gd name="connsiteX62" fmla="*/ 3065083 w 3907177"/>
                  <a:gd name="connsiteY62" fmla="*/ 1957686 h 3033282"/>
                  <a:gd name="connsiteX63" fmla="*/ 2968463 w 3907177"/>
                  <a:gd name="connsiteY63" fmla="*/ 1942966 h 3033282"/>
                  <a:gd name="connsiteX64" fmla="*/ 2921466 w 3907177"/>
                  <a:gd name="connsiteY64" fmla="*/ 1940074 h 3033282"/>
                  <a:gd name="connsiteX65" fmla="*/ 2882143 w 3907177"/>
                  <a:gd name="connsiteY65" fmla="*/ 1689578 h 3033282"/>
                  <a:gd name="connsiteX66" fmla="*/ 2779009 w 3907177"/>
                  <a:gd name="connsiteY66" fmla="*/ 1700880 h 3033282"/>
                  <a:gd name="connsiteX67" fmla="*/ 2720075 w 3907177"/>
                  <a:gd name="connsiteY67" fmla="*/ 1810222 h 3033282"/>
                  <a:gd name="connsiteX68" fmla="*/ 2806371 w 3907177"/>
                  <a:gd name="connsiteY68" fmla="*/ 1730318 h 3033282"/>
                  <a:gd name="connsiteX69" fmla="*/ 2953705 w 3907177"/>
                  <a:gd name="connsiteY69" fmla="*/ 1692469 h 3033282"/>
                  <a:gd name="connsiteX70" fmla="*/ 2882143 w 3907177"/>
                  <a:gd name="connsiteY70" fmla="*/ 1689578 h 3033282"/>
                  <a:gd name="connsiteX71" fmla="*/ 2751741 w 3907177"/>
                  <a:gd name="connsiteY71" fmla="*/ 1152523 h 3033282"/>
                  <a:gd name="connsiteX72" fmla="*/ 2752273 w 3907177"/>
                  <a:gd name="connsiteY72" fmla="*/ 1154187 h 3033282"/>
                  <a:gd name="connsiteX73" fmla="*/ 2764036 w 3907177"/>
                  <a:gd name="connsiteY73" fmla="*/ 1192874 h 3033282"/>
                  <a:gd name="connsiteX74" fmla="*/ 2787833 w 3907177"/>
                  <a:gd name="connsiteY74" fmla="*/ 1274009 h 3033282"/>
                  <a:gd name="connsiteX75" fmla="*/ 2819472 w 3907177"/>
                  <a:gd name="connsiteY75" fmla="*/ 1283014 h 3033282"/>
                  <a:gd name="connsiteX76" fmla="*/ 2820261 w 3907177"/>
                  <a:gd name="connsiteY76" fmla="*/ 1283258 h 3033282"/>
                  <a:gd name="connsiteX77" fmla="*/ 2825890 w 3907177"/>
                  <a:gd name="connsiteY77" fmla="*/ 1283302 h 3033282"/>
                  <a:gd name="connsiteX78" fmla="*/ 2903747 w 3907177"/>
                  <a:gd name="connsiteY78" fmla="*/ 1291542 h 3033282"/>
                  <a:gd name="connsiteX79" fmla="*/ 2899550 w 3907177"/>
                  <a:gd name="connsiteY79" fmla="*/ 1288295 h 3033282"/>
                  <a:gd name="connsiteX80" fmla="*/ 2806596 w 3907177"/>
                  <a:gd name="connsiteY80" fmla="*/ 1216396 h 3033282"/>
                  <a:gd name="connsiteX81" fmla="*/ 2775061 w 3907177"/>
                  <a:gd name="connsiteY81" fmla="*/ 1179930 h 3033282"/>
                  <a:gd name="connsiteX82" fmla="*/ 1695768 w 3907177"/>
                  <a:gd name="connsiteY82" fmla="*/ 862876 h 3033282"/>
                  <a:gd name="connsiteX83" fmla="*/ 2078780 w 3907177"/>
                  <a:gd name="connsiteY83" fmla="*/ 919680 h 3033282"/>
                  <a:gd name="connsiteX84" fmla="*/ 2177689 w 3907177"/>
                  <a:gd name="connsiteY84" fmla="*/ 938615 h 3033282"/>
                  <a:gd name="connsiteX85" fmla="*/ 2274495 w 3907177"/>
                  <a:gd name="connsiteY85" fmla="*/ 997523 h 3033282"/>
                  <a:gd name="connsiteX86" fmla="*/ 2192421 w 3907177"/>
                  <a:gd name="connsiteY86" fmla="*/ 984900 h 3033282"/>
                  <a:gd name="connsiteX87" fmla="*/ 2082989 w 3907177"/>
                  <a:gd name="connsiteY87" fmla="*/ 1031185 h 3033282"/>
                  <a:gd name="connsiteX88" fmla="*/ 2013542 w 3907177"/>
                  <a:gd name="connsiteY88" fmla="*/ 1064846 h 3033282"/>
                  <a:gd name="connsiteX89" fmla="*/ 2177689 w 3907177"/>
                  <a:gd name="connsiteY89" fmla="*/ 1060639 h 3033282"/>
                  <a:gd name="connsiteX90" fmla="*/ 2320793 w 3907177"/>
                  <a:gd name="connsiteY90" fmla="*/ 1102716 h 3033282"/>
                  <a:gd name="connsiteX91" fmla="*/ 2402867 w 3907177"/>
                  <a:gd name="connsiteY91" fmla="*/ 1193182 h 3033282"/>
                  <a:gd name="connsiteX92" fmla="*/ 2477977 w 3907177"/>
                  <a:gd name="connsiteY92" fmla="*/ 1304520 h 3033282"/>
                  <a:gd name="connsiteX93" fmla="*/ 2495231 w 3907177"/>
                  <a:gd name="connsiteY93" fmla="*/ 1302276 h 3033282"/>
                  <a:gd name="connsiteX94" fmla="*/ 2479203 w 3907177"/>
                  <a:gd name="connsiteY94" fmla="*/ 1263722 h 3033282"/>
                  <a:gd name="connsiteX95" fmla="*/ 2352360 w 3907177"/>
                  <a:gd name="connsiteY95" fmla="*/ 974380 h 3033282"/>
                  <a:gd name="connsiteX96" fmla="*/ 2194525 w 3907177"/>
                  <a:gd name="connsiteY96" fmla="*/ 875499 h 3033282"/>
                  <a:gd name="connsiteX97" fmla="*/ 1695768 w 3907177"/>
                  <a:gd name="connsiteY97" fmla="*/ 862876 h 3033282"/>
                  <a:gd name="connsiteX98" fmla="*/ 2884074 w 3907177"/>
                  <a:gd name="connsiteY98" fmla="*/ 435929 h 3033282"/>
                  <a:gd name="connsiteX99" fmla="*/ 2987291 w 3907177"/>
                  <a:gd name="connsiteY99" fmla="*/ 631716 h 3033282"/>
                  <a:gd name="connsiteX100" fmla="*/ 3130531 w 3907177"/>
                  <a:gd name="connsiteY100" fmla="*/ 1008552 h 3033282"/>
                  <a:gd name="connsiteX101" fmla="*/ 3063124 w 3907177"/>
                  <a:gd name="connsiteY101" fmla="*/ 682241 h 3033282"/>
                  <a:gd name="connsiteX102" fmla="*/ 2970440 w 3907177"/>
                  <a:gd name="connsiteY102" fmla="*/ 520138 h 3033282"/>
                  <a:gd name="connsiteX103" fmla="*/ 2884074 w 3907177"/>
                  <a:gd name="connsiteY103" fmla="*/ 435929 h 3033282"/>
                  <a:gd name="connsiteX104" fmla="*/ 990408 w 3907177"/>
                  <a:gd name="connsiteY104" fmla="*/ 698 h 3033282"/>
                  <a:gd name="connsiteX105" fmla="*/ 1039550 w 3907177"/>
                  <a:gd name="connsiteY105" fmla="*/ 863 h 3033282"/>
                  <a:gd name="connsiteX106" fmla="*/ 1348803 w 3907177"/>
                  <a:gd name="connsiteY106" fmla="*/ 72387 h 3033282"/>
                  <a:gd name="connsiteX107" fmla="*/ 1737998 w 3907177"/>
                  <a:gd name="connsiteY107" fmla="*/ 232264 h 3033282"/>
                  <a:gd name="connsiteX108" fmla="*/ 2005176 w 3907177"/>
                  <a:gd name="connsiteY108" fmla="*/ 371104 h 3033282"/>
                  <a:gd name="connsiteX109" fmla="*/ 2203455 w 3907177"/>
                  <a:gd name="connsiteY109" fmla="*/ 477601 h 3033282"/>
                  <a:gd name="connsiteX110" fmla="*/ 2296994 w 3907177"/>
                  <a:gd name="connsiteY110" fmla="*/ 530121 h 3033282"/>
                  <a:gd name="connsiteX111" fmla="*/ 2323986 w 3907177"/>
                  <a:gd name="connsiteY111" fmla="*/ 546882 h 3033282"/>
                  <a:gd name="connsiteX112" fmla="*/ 2357160 w 3907177"/>
                  <a:gd name="connsiteY112" fmla="*/ 567482 h 3033282"/>
                  <a:gd name="connsiteX113" fmla="*/ 2404890 w 3907177"/>
                  <a:gd name="connsiteY113" fmla="*/ 598298 h 3033282"/>
                  <a:gd name="connsiteX114" fmla="*/ 2415440 w 3907177"/>
                  <a:gd name="connsiteY114" fmla="*/ 605928 h 3033282"/>
                  <a:gd name="connsiteX115" fmla="*/ 2362991 w 3907177"/>
                  <a:gd name="connsiteY115" fmla="*/ 493093 h 3033282"/>
                  <a:gd name="connsiteX116" fmla="*/ 2329266 w 3907177"/>
                  <a:gd name="connsiteY116" fmla="*/ 483333 h 3033282"/>
                  <a:gd name="connsiteX117" fmla="*/ 2307060 w 3907177"/>
                  <a:gd name="connsiteY117" fmla="*/ 476906 h 3033282"/>
                  <a:gd name="connsiteX118" fmla="*/ 2313198 w 3907177"/>
                  <a:gd name="connsiteY118" fmla="*/ 470584 h 3033282"/>
                  <a:gd name="connsiteX119" fmla="*/ 2460566 w 3907177"/>
                  <a:gd name="connsiteY119" fmla="*/ 333037 h 3033282"/>
                  <a:gd name="connsiteX120" fmla="*/ 2482676 w 3907177"/>
                  <a:gd name="connsiteY120" fmla="*/ 317005 h 3033282"/>
                  <a:gd name="connsiteX121" fmla="*/ 2522361 w 3907177"/>
                  <a:gd name="connsiteY121" fmla="*/ 296868 h 3033282"/>
                  <a:gd name="connsiteX122" fmla="*/ 2554579 w 3907177"/>
                  <a:gd name="connsiteY122" fmla="*/ 283748 h 3033282"/>
                  <a:gd name="connsiteX123" fmla="*/ 2694384 w 3907177"/>
                  <a:gd name="connsiteY123" fmla="*/ 254812 h 3033282"/>
                  <a:gd name="connsiteX124" fmla="*/ 2798186 w 3907177"/>
                  <a:gd name="connsiteY124" fmla="*/ 277829 h 3033282"/>
                  <a:gd name="connsiteX125" fmla="*/ 2857052 w 3907177"/>
                  <a:gd name="connsiteY125" fmla="*/ 260994 h 3033282"/>
                  <a:gd name="connsiteX126" fmla="*/ 2861191 w 3907177"/>
                  <a:gd name="connsiteY126" fmla="*/ 261705 h 3033282"/>
                  <a:gd name="connsiteX127" fmla="*/ 2866568 w 3907177"/>
                  <a:gd name="connsiteY127" fmla="*/ 262766 h 3033282"/>
                  <a:gd name="connsiteX128" fmla="*/ 2867847 w 3907177"/>
                  <a:gd name="connsiteY128" fmla="*/ 263215 h 3033282"/>
                  <a:gd name="connsiteX129" fmla="*/ 2874182 w 3907177"/>
                  <a:gd name="connsiteY129" fmla="*/ 265939 h 3033282"/>
                  <a:gd name="connsiteX130" fmla="*/ 2878772 w 3907177"/>
                  <a:gd name="connsiteY130" fmla="*/ 265783 h 3033282"/>
                  <a:gd name="connsiteX131" fmla="*/ 2879970 w 3907177"/>
                  <a:gd name="connsiteY131" fmla="*/ 265863 h 3033282"/>
                  <a:gd name="connsiteX132" fmla="*/ 2909084 w 3907177"/>
                  <a:gd name="connsiteY132" fmla="*/ 273357 h 3033282"/>
                  <a:gd name="connsiteX133" fmla="*/ 2989498 w 3907177"/>
                  <a:gd name="connsiteY133" fmla="*/ 315709 h 3033282"/>
                  <a:gd name="connsiteX134" fmla="*/ 3365815 w 3907177"/>
                  <a:gd name="connsiteY134" fmla="*/ 925987 h 3033282"/>
                  <a:gd name="connsiteX135" fmla="*/ 3233368 w 3907177"/>
                  <a:gd name="connsiteY135" fmla="*/ 1376331 h 3033282"/>
                  <a:gd name="connsiteX136" fmla="*/ 3239761 w 3907177"/>
                  <a:gd name="connsiteY136" fmla="*/ 1410216 h 3033282"/>
                  <a:gd name="connsiteX137" fmla="*/ 3243622 w 3907177"/>
                  <a:gd name="connsiteY137" fmla="*/ 1426604 h 3033282"/>
                  <a:gd name="connsiteX138" fmla="*/ 3302854 w 3907177"/>
                  <a:gd name="connsiteY138" fmla="*/ 1472111 h 3033282"/>
                  <a:gd name="connsiteX139" fmla="*/ 3442037 w 3907177"/>
                  <a:gd name="connsiteY139" fmla="*/ 1705090 h 3033282"/>
                  <a:gd name="connsiteX140" fmla="*/ 3433973 w 3907177"/>
                  <a:gd name="connsiteY140" fmla="*/ 1732860 h 3033282"/>
                  <a:gd name="connsiteX141" fmla="*/ 3404867 w 3907177"/>
                  <a:gd name="connsiteY141" fmla="*/ 1673697 h 3033282"/>
                  <a:gd name="connsiteX142" fmla="*/ 3388345 w 3907177"/>
                  <a:gd name="connsiteY142" fmla="*/ 1639131 h 3033282"/>
                  <a:gd name="connsiteX143" fmla="*/ 3377441 w 3907177"/>
                  <a:gd name="connsiteY143" fmla="*/ 1616053 h 3033282"/>
                  <a:gd name="connsiteX144" fmla="*/ 3359581 w 3907177"/>
                  <a:gd name="connsiteY144" fmla="*/ 1565598 h 3033282"/>
                  <a:gd name="connsiteX145" fmla="*/ 3361687 w 3907177"/>
                  <a:gd name="connsiteY145" fmla="*/ 1582431 h 3033282"/>
                  <a:gd name="connsiteX146" fmla="*/ 3374588 w 3907177"/>
                  <a:gd name="connsiteY146" fmla="*/ 1610015 h 3033282"/>
                  <a:gd name="connsiteX147" fmla="*/ 3377441 w 3907177"/>
                  <a:gd name="connsiteY147" fmla="*/ 1616053 h 3033282"/>
                  <a:gd name="connsiteX148" fmla="*/ 3442901 w 3907177"/>
                  <a:gd name="connsiteY148" fmla="*/ 1800978 h 3033282"/>
                  <a:gd name="connsiteX149" fmla="*/ 3440408 w 3907177"/>
                  <a:gd name="connsiteY149" fmla="*/ 1796829 h 3033282"/>
                  <a:gd name="connsiteX150" fmla="*/ 3433154 w 3907177"/>
                  <a:gd name="connsiteY150" fmla="*/ 1784752 h 3033282"/>
                  <a:gd name="connsiteX151" fmla="*/ 3397602 w 3907177"/>
                  <a:gd name="connsiteY151" fmla="*/ 1761774 h 3033282"/>
                  <a:gd name="connsiteX152" fmla="*/ 3349501 w 3907177"/>
                  <a:gd name="connsiteY152" fmla="*/ 1755507 h 3033282"/>
                  <a:gd name="connsiteX153" fmla="*/ 3395510 w 3907177"/>
                  <a:gd name="connsiteY153" fmla="*/ 1772218 h 3033282"/>
                  <a:gd name="connsiteX154" fmla="*/ 3439918 w 3907177"/>
                  <a:gd name="connsiteY154" fmla="*/ 1800713 h 3033282"/>
                  <a:gd name="connsiteX155" fmla="*/ 3444055 w 3907177"/>
                  <a:gd name="connsiteY155" fmla="*/ 1804238 h 3033282"/>
                  <a:gd name="connsiteX156" fmla="*/ 3555468 w 3907177"/>
                  <a:gd name="connsiteY156" fmla="*/ 2118980 h 3033282"/>
                  <a:gd name="connsiteX157" fmla="*/ 3553362 w 3907177"/>
                  <a:gd name="connsiteY157" fmla="*/ 2091890 h 3033282"/>
                  <a:gd name="connsiteX158" fmla="*/ 3553487 w 3907177"/>
                  <a:gd name="connsiteY158" fmla="*/ 2080908 h 3033282"/>
                  <a:gd name="connsiteX159" fmla="*/ 3554536 w 3907177"/>
                  <a:gd name="connsiteY159" fmla="*/ 2083695 h 3033282"/>
                  <a:gd name="connsiteX160" fmla="*/ 3570142 w 3907177"/>
                  <a:gd name="connsiteY160" fmla="*/ 2125146 h 3033282"/>
                  <a:gd name="connsiteX161" fmla="*/ 3570375 w 3907177"/>
                  <a:gd name="connsiteY161" fmla="*/ 2125765 h 3033282"/>
                  <a:gd name="connsiteX162" fmla="*/ 3570326 w 3907177"/>
                  <a:gd name="connsiteY162" fmla="*/ 2125774 h 3033282"/>
                  <a:gd name="connsiteX163" fmla="*/ 3524755 w 3907177"/>
                  <a:gd name="connsiteY163" fmla="*/ 2128437 h 3033282"/>
                  <a:gd name="connsiteX164" fmla="*/ 3520991 w 3907177"/>
                  <a:gd name="connsiteY164" fmla="*/ 2130652 h 3033282"/>
                  <a:gd name="connsiteX165" fmla="*/ 3519898 w 3907177"/>
                  <a:gd name="connsiteY165" fmla="*/ 2125754 h 3033282"/>
                  <a:gd name="connsiteX166" fmla="*/ 3513061 w 3907177"/>
                  <a:gd name="connsiteY166" fmla="*/ 2102599 h 3033282"/>
                  <a:gd name="connsiteX167" fmla="*/ 3485716 w 3907177"/>
                  <a:gd name="connsiteY167" fmla="*/ 2058392 h 3033282"/>
                  <a:gd name="connsiteX168" fmla="*/ 3422611 w 3907177"/>
                  <a:gd name="connsiteY168" fmla="*/ 2039446 h 3033282"/>
                  <a:gd name="connsiteX169" fmla="*/ 3384747 w 3907177"/>
                  <a:gd name="connsiteY169" fmla="*/ 2043657 h 3033282"/>
                  <a:gd name="connsiteX170" fmla="*/ 3334263 w 3907177"/>
                  <a:gd name="connsiteY170" fmla="*/ 2031026 h 3033282"/>
                  <a:gd name="connsiteX171" fmla="*/ 3378437 w 3907177"/>
                  <a:gd name="connsiteY171" fmla="*/ 2058392 h 3033282"/>
                  <a:gd name="connsiteX172" fmla="*/ 3357402 w 3907177"/>
                  <a:gd name="connsiteY172" fmla="*/ 2092073 h 3033282"/>
                  <a:gd name="connsiteX173" fmla="*/ 3351091 w 3907177"/>
                  <a:gd name="connsiteY173" fmla="*/ 2140490 h 3033282"/>
                  <a:gd name="connsiteX174" fmla="*/ 3317435 w 3907177"/>
                  <a:gd name="connsiteY174" fmla="*/ 2140490 h 3033282"/>
                  <a:gd name="connsiteX175" fmla="*/ 3359505 w 3907177"/>
                  <a:gd name="connsiteY175" fmla="*/ 2155225 h 3033282"/>
                  <a:gd name="connsiteX176" fmla="*/ 3416300 w 3907177"/>
                  <a:gd name="connsiteY176" fmla="*/ 2180486 h 3033282"/>
                  <a:gd name="connsiteX177" fmla="*/ 3468953 w 3907177"/>
                  <a:gd name="connsiteY177" fmla="*/ 2204760 h 3033282"/>
                  <a:gd name="connsiteX178" fmla="*/ 3471183 w 3907177"/>
                  <a:gd name="connsiteY178" fmla="*/ 2205864 h 3033282"/>
                  <a:gd name="connsiteX179" fmla="*/ 3465112 w 3907177"/>
                  <a:gd name="connsiteY179" fmla="*/ 2222558 h 3033282"/>
                  <a:gd name="connsiteX180" fmla="*/ 3404088 w 3907177"/>
                  <a:gd name="connsiteY180" fmla="*/ 2397188 h 3033282"/>
                  <a:gd name="connsiteX181" fmla="*/ 3303083 w 3907177"/>
                  <a:gd name="connsiteY181" fmla="*/ 2544467 h 3033282"/>
                  <a:gd name="connsiteX182" fmla="*/ 3395671 w 3907177"/>
                  <a:gd name="connsiteY182" fmla="*/ 2456100 h 3033282"/>
                  <a:gd name="connsiteX183" fmla="*/ 3450382 w 3907177"/>
                  <a:gd name="connsiteY183" fmla="*/ 2386668 h 3033282"/>
                  <a:gd name="connsiteX184" fmla="*/ 3526136 w 3907177"/>
                  <a:gd name="connsiteY184" fmla="*/ 2184686 h 3033282"/>
                  <a:gd name="connsiteX185" fmla="*/ 3618725 w 3907177"/>
                  <a:gd name="connsiteY185" fmla="*/ 2163646 h 3033282"/>
                  <a:gd name="connsiteX186" fmla="*/ 3751294 w 3907177"/>
                  <a:gd name="connsiteY186" fmla="*/ 2136294 h 3033282"/>
                  <a:gd name="connsiteX187" fmla="*/ 3799430 w 3907177"/>
                  <a:gd name="connsiteY187" fmla="*/ 2104735 h 3033282"/>
                  <a:gd name="connsiteX188" fmla="*/ 3810437 w 3907177"/>
                  <a:gd name="connsiteY188" fmla="*/ 2099831 h 3033282"/>
                  <a:gd name="connsiteX189" fmla="*/ 3824461 w 3907177"/>
                  <a:gd name="connsiteY189" fmla="*/ 2097367 h 3033282"/>
                  <a:gd name="connsiteX190" fmla="*/ 3829342 w 3907177"/>
                  <a:gd name="connsiteY190" fmla="*/ 2096510 h 3033282"/>
                  <a:gd name="connsiteX191" fmla="*/ 3845987 w 3907177"/>
                  <a:gd name="connsiteY191" fmla="*/ 2098423 h 3033282"/>
                  <a:gd name="connsiteX192" fmla="*/ 3904907 w 3907177"/>
                  <a:gd name="connsiteY192" fmla="*/ 2180478 h 3033282"/>
                  <a:gd name="connsiteX193" fmla="*/ 3885968 w 3907177"/>
                  <a:gd name="connsiteY193" fmla="*/ 2315133 h 3033282"/>
                  <a:gd name="connsiteX194" fmla="*/ 3884225 w 3907177"/>
                  <a:gd name="connsiteY194" fmla="*/ 2328571 h 3033282"/>
                  <a:gd name="connsiteX195" fmla="*/ 3881324 w 3907177"/>
                  <a:gd name="connsiteY195" fmla="*/ 2344937 h 3033282"/>
                  <a:gd name="connsiteX196" fmla="*/ 3878738 w 3907177"/>
                  <a:gd name="connsiteY196" fmla="*/ 2354578 h 3033282"/>
                  <a:gd name="connsiteX197" fmla="*/ 3857107 w 3907177"/>
                  <a:gd name="connsiteY197" fmla="*/ 2435219 h 3033282"/>
                  <a:gd name="connsiteX198" fmla="*/ 3839183 w 3907177"/>
                  <a:gd name="connsiteY198" fmla="*/ 2502042 h 3033282"/>
                  <a:gd name="connsiteX199" fmla="*/ 3806236 w 3907177"/>
                  <a:gd name="connsiteY199" fmla="*/ 2584501 h 3033282"/>
                  <a:gd name="connsiteX200" fmla="*/ 3612412 w 3907177"/>
                  <a:gd name="connsiteY200" fmla="*/ 2876897 h 3033282"/>
                  <a:gd name="connsiteX201" fmla="*/ 3004275 w 3907177"/>
                  <a:gd name="connsiteY201" fmla="*/ 2912665 h 3033282"/>
                  <a:gd name="connsiteX202" fmla="*/ 2812785 w 3907177"/>
                  <a:gd name="connsiteY202" fmla="*/ 2759074 h 3033282"/>
                  <a:gd name="connsiteX203" fmla="*/ 2726510 w 3907177"/>
                  <a:gd name="connsiteY203" fmla="*/ 2651771 h 3033282"/>
                  <a:gd name="connsiteX204" fmla="*/ 2722301 w 3907177"/>
                  <a:gd name="connsiteY204" fmla="*/ 2655979 h 3033282"/>
                  <a:gd name="connsiteX205" fmla="*/ 2686529 w 3907177"/>
                  <a:gd name="connsiteY205" fmla="*/ 2750658 h 3033282"/>
                  <a:gd name="connsiteX206" fmla="*/ 2646547 w 3907177"/>
                  <a:gd name="connsiteY206" fmla="*/ 2799050 h 3033282"/>
                  <a:gd name="connsiteX207" fmla="*/ 2593940 w 3907177"/>
                  <a:gd name="connsiteY207" fmla="*/ 2887417 h 3033282"/>
                  <a:gd name="connsiteX208" fmla="*/ 2606566 w 3907177"/>
                  <a:gd name="connsiteY208" fmla="*/ 2963160 h 3033282"/>
                  <a:gd name="connsiteX209" fmla="*/ 2724406 w 3907177"/>
                  <a:gd name="connsiteY209" fmla="*/ 3001032 h 3033282"/>
                  <a:gd name="connsiteX210" fmla="*/ 2614983 w 3907177"/>
                  <a:gd name="connsiteY210" fmla="*/ 2916873 h 3033282"/>
                  <a:gd name="connsiteX211" fmla="*/ 2636026 w 3907177"/>
                  <a:gd name="connsiteY211" fmla="*/ 2931601 h 3033282"/>
                  <a:gd name="connsiteX212" fmla="*/ 2741240 w 3907177"/>
                  <a:gd name="connsiteY212" fmla="*/ 2975784 h 3033282"/>
                  <a:gd name="connsiteX213" fmla="*/ 2823307 w 3907177"/>
                  <a:gd name="connsiteY213" fmla="*/ 2935809 h 3033282"/>
                  <a:gd name="connsiteX214" fmla="*/ 2869601 w 3907177"/>
                  <a:gd name="connsiteY214" fmla="*/ 2874793 h 3033282"/>
                  <a:gd name="connsiteX215" fmla="*/ 2909582 w 3907177"/>
                  <a:gd name="connsiteY215" fmla="*/ 2914769 h 3033282"/>
                  <a:gd name="connsiteX216" fmla="*/ 2804368 w 3907177"/>
                  <a:gd name="connsiteY216" fmla="*/ 3009448 h 3033282"/>
                  <a:gd name="connsiteX217" fmla="*/ 2631817 w 3907177"/>
                  <a:gd name="connsiteY217" fmla="*/ 3019968 h 3033282"/>
                  <a:gd name="connsiteX218" fmla="*/ 2592812 w 3907177"/>
                  <a:gd name="connsiteY218" fmla="*/ 2997729 h 3033282"/>
                  <a:gd name="connsiteX219" fmla="*/ 2571463 w 3907177"/>
                  <a:gd name="connsiteY219" fmla="*/ 2978979 h 3033282"/>
                  <a:gd name="connsiteX220" fmla="*/ 2569646 w 3907177"/>
                  <a:gd name="connsiteY220" fmla="*/ 2977384 h 3033282"/>
                  <a:gd name="connsiteX221" fmla="*/ 2550477 w 3907177"/>
                  <a:gd name="connsiteY221" fmla="*/ 2953365 h 3033282"/>
                  <a:gd name="connsiteX222" fmla="*/ 2543509 w 3907177"/>
                  <a:gd name="connsiteY222" fmla="*/ 2942341 h 3033282"/>
                  <a:gd name="connsiteX223" fmla="*/ 2527951 w 3907177"/>
                  <a:gd name="connsiteY223" fmla="*/ 2910199 h 3033282"/>
                  <a:gd name="connsiteX224" fmla="*/ 2522395 w 3907177"/>
                  <a:gd name="connsiteY224" fmla="*/ 2893729 h 3033282"/>
                  <a:gd name="connsiteX225" fmla="*/ 2457162 w 3907177"/>
                  <a:gd name="connsiteY225" fmla="*/ 2748554 h 3033282"/>
                  <a:gd name="connsiteX226" fmla="*/ 2362469 w 3907177"/>
                  <a:gd name="connsiteY226" fmla="*/ 2651771 h 3033282"/>
                  <a:gd name="connsiteX227" fmla="*/ 2340024 w 3907177"/>
                  <a:gd name="connsiteY227" fmla="*/ 2621933 h 3033282"/>
                  <a:gd name="connsiteX228" fmla="*/ 2338457 w 3907177"/>
                  <a:gd name="connsiteY228" fmla="*/ 2619477 h 3033282"/>
                  <a:gd name="connsiteX229" fmla="*/ 2304048 w 3907177"/>
                  <a:gd name="connsiteY229" fmla="*/ 2565541 h 3033282"/>
                  <a:gd name="connsiteX230" fmla="*/ 2335655 w 3907177"/>
                  <a:gd name="connsiteY230" fmla="*/ 2318674 h 3033282"/>
                  <a:gd name="connsiteX231" fmla="*/ 2366996 w 3907177"/>
                  <a:gd name="connsiteY231" fmla="*/ 2274192 h 3033282"/>
                  <a:gd name="connsiteX232" fmla="*/ 2347572 w 3907177"/>
                  <a:gd name="connsiteY232" fmla="*/ 2275513 h 3033282"/>
                  <a:gd name="connsiteX233" fmla="*/ 2320522 w 3907177"/>
                  <a:gd name="connsiteY233" fmla="*/ 2269084 h 3033282"/>
                  <a:gd name="connsiteX234" fmla="*/ 2038565 w 3907177"/>
                  <a:gd name="connsiteY234" fmla="*/ 2062847 h 3033282"/>
                  <a:gd name="connsiteX235" fmla="*/ 2043892 w 3907177"/>
                  <a:gd name="connsiteY235" fmla="*/ 1618938 h 3033282"/>
                  <a:gd name="connsiteX236" fmla="*/ 2058099 w 3907177"/>
                  <a:gd name="connsiteY236" fmla="*/ 1557525 h 3033282"/>
                  <a:gd name="connsiteX237" fmla="*/ 2055755 w 3907177"/>
                  <a:gd name="connsiteY237" fmla="*/ 1558228 h 3033282"/>
                  <a:gd name="connsiteX238" fmla="*/ 2050316 w 3907177"/>
                  <a:gd name="connsiteY238" fmla="*/ 1559430 h 3033282"/>
                  <a:gd name="connsiteX239" fmla="*/ 1525518 w 3907177"/>
                  <a:gd name="connsiteY239" fmla="*/ 1690090 h 3033282"/>
                  <a:gd name="connsiteX240" fmla="*/ 946985 w 3907177"/>
                  <a:gd name="connsiteY240" fmla="*/ 1875211 h 3033282"/>
                  <a:gd name="connsiteX241" fmla="*/ 559893 w 3907177"/>
                  <a:gd name="connsiteY241" fmla="*/ 1858382 h 3033282"/>
                  <a:gd name="connsiteX242" fmla="*/ 412630 w 3907177"/>
                  <a:gd name="connsiteY242" fmla="*/ 1498659 h 3033282"/>
                  <a:gd name="connsiteX243" fmla="*/ 46576 w 3907177"/>
                  <a:gd name="connsiteY243" fmla="*/ 1063204 h 3033282"/>
                  <a:gd name="connsiteX244" fmla="*/ 36057 w 3907177"/>
                  <a:gd name="connsiteY244" fmla="*/ 665615 h 3033282"/>
                  <a:gd name="connsiteX245" fmla="*/ 191735 w 3907177"/>
                  <a:gd name="connsiteY245" fmla="*/ 459457 h 3033282"/>
                  <a:gd name="connsiteX246" fmla="*/ 374762 w 3907177"/>
                  <a:gd name="connsiteY246" fmla="*/ 465768 h 3033282"/>
                  <a:gd name="connsiteX247" fmla="*/ 677704 w 3907177"/>
                  <a:gd name="connsiteY247" fmla="*/ 528878 h 3033282"/>
                  <a:gd name="connsiteX248" fmla="*/ 1090040 w 3907177"/>
                  <a:gd name="connsiteY248" fmla="*/ 713999 h 3033282"/>
                  <a:gd name="connsiteX249" fmla="*/ 736609 w 3907177"/>
                  <a:gd name="connsiteY249" fmla="*/ 514152 h 3033282"/>
                  <a:gd name="connsiteX250" fmla="*/ 503092 w 3907177"/>
                  <a:gd name="connsiteY250" fmla="*/ 423695 h 3033282"/>
                  <a:gd name="connsiteX251" fmla="*/ 700845 w 3907177"/>
                  <a:gd name="connsiteY251" fmla="*/ 246989 h 3033282"/>
                  <a:gd name="connsiteX252" fmla="*/ 867042 w 3907177"/>
                  <a:gd name="connsiteY252" fmla="*/ 47143 h 3033282"/>
                  <a:gd name="connsiteX253" fmla="*/ 990408 w 3907177"/>
                  <a:gd name="connsiteY253" fmla="*/ 698 h 30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3907177" h="3033282">
                    <a:moveTo>
                      <a:pt x="3283994" y="2199606"/>
                    </a:moveTo>
                    <a:cubicBezTo>
                      <a:pt x="3260886" y="2199606"/>
                      <a:pt x="3239879" y="2208029"/>
                      <a:pt x="3216771" y="2237508"/>
                    </a:cubicBezTo>
                    <a:cubicBezTo>
                      <a:pt x="3206268" y="2252247"/>
                      <a:pt x="3191038" y="2271198"/>
                      <a:pt x="3176070" y="2287254"/>
                    </a:cubicBezTo>
                    <a:lnTo>
                      <a:pt x="3157902" y="2304911"/>
                    </a:lnTo>
                    <a:lnTo>
                      <a:pt x="3148728" y="2311436"/>
                    </a:lnTo>
                    <a:cubicBezTo>
                      <a:pt x="3141540" y="2316470"/>
                      <a:pt x="3136944" y="2319628"/>
                      <a:pt x="3136944" y="2319628"/>
                    </a:cubicBezTo>
                    <a:cubicBezTo>
                      <a:pt x="3141671" y="2318049"/>
                      <a:pt x="3147710" y="2313969"/>
                      <a:pt x="3154439" y="2308277"/>
                    </a:cubicBezTo>
                    <a:lnTo>
                      <a:pt x="3157902" y="2304911"/>
                    </a:lnTo>
                    <a:lnTo>
                      <a:pt x="3176070" y="2291992"/>
                    </a:lnTo>
                    <a:cubicBezTo>
                      <a:pt x="3196815" y="2276989"/>
                      <a:pt x="3219922" y="2259617"/>
                      <a:pt x="3229375" y="2250142"/>
                    </a:cubicBezTo>
                    <a:cubicBezTo>
                      <a:pt x="3248282" y="2231191"/>
                      <a:pt x="3283994" y="2231191"/>
                      <a:pt x="3317605" y="2231191"/>
                    </a:cubicBezTo>
                    <a:cubicBezTo>
                      <a:pt x="3341238" y="2231191"/>
                      <a:pt x="3367234" y="2240666"/>
                      <a:pt x="3378755" y="2245404"/>
                    </a:cubicBezTo>
                    <a:lnTo>
                      <a:pt x="3382808" y="2247161"/>
                    </a:lnTo>
                    <a:lnTo>
                      <a:pt x="3351550" y="2248260"/>
                    </a:lnTo>
                    <a:cubicBezTo>
                      <a:pt x="3337425" y="2251320"/>
                      <a:pt x="3324650" y="2257505"/>
                      <a:pt x="3315694" y="2268558"/>
                    </a:cubicBezTo>
                    <a:cubicBezTo>
                      <a:pt x="3281978" y="2310668"/>
                      <a:pt x="3267228" y="2335934"/>
                      <a:pt x="3248262" y="2369622"/>
                    </a:cubicBezTo>
                    <a:cubicBezTo>
                      <a:pt x="3229297" y="2403310"/>
                      <a:pt x="3195581" y="2443314"/>
                      <a:pt x="3195581" y="2443314"/>
                    </a:cubicBezTo>
                    <a:cubicBezTo>
                      <a:pt x="3195581" y="2443314"/>
                      <a:pt x="3273549" y="2363305"/>
                      <a:pt x="3288300" y="2346462"/>
                    </a:cubicBezTo>
                    <a:cubicBezTo>
                      <a:pt x="3303051" y="2327512"/>
                      <a:pt x="3309372" y="2312774"/>
                      <a:pt x="3334660" y="2295930"/>
                    </a:cubicBezTo>
                    <a:cubicBezTo>
                      <a:pt x="3357839" y="2279086"/>
                      <a:pt x="3381019" y="2279086"/>
                      <a:pt x="3404199" y="2281191"/>
                    </a:cubicBezTo>
                    <a:cubicBezTo>
                      <a:pt x="3427378" y="2283297"/>
                      <a:pt x="3442129" y="2291719"/>
                      <a:pt x="3442129" y="2291719"/>
                    </a:cubicBezTo>
                    <a:lnTo>
                      <a:pt x="3448451" y="2258031"/>
                    </a:lnTo>
                    <a:cubicBezTo>
                      <a:pt x="3448451" y="2258031"/>
                      <a:pt x="3442393" y="2255926"/>
                      <a:pt x="3432746" y="2253458"/>
                    </a:cubicBezTo>
                    <a:lnTo>
                      <a:pt x="3399309" y="2247403"/>
                    </a:lnTo>
                    <a:lnTo>
                      <a:pt x="3406885" y="2246720"/>
                    </a:lnTo>
                    <a:cubicBezTo>
                      <a:pt x="3417388" y="2244878"/>
                      <a:pt x="3426842" y="2240666"/>
                      <a:pt x="3422640" y="2231191"/>
                    </a:cubicBezTo>
                    <a:cubicBezTo>
                      <a:pt x="3412137" y="2214346"/>
                      <a:pt x="3391130" y="2216451"/>
                      <a:pt x="3370122" y="2208029"/>
                    </a:cubicBezTo>
                    <a:cubicBezTo>
                      <a:pt x="3349115" y="2201712"/>
                      <a:pt x="3309202" y="2199606"/>
                      <a:pt x="3283994" y="2199606"/>
                    </a:cubicBezTo>
                    <a:close/>
                    <a:moveTo>
                      <a:pt x="3868985" y="2136388"/>
                    </a:moveTo>
                    <a:cubicBezTo>
                      <a:pt x="3868985" y="2136388"/>
                      <a:pt x="3778558" y="2193138"/>
                      <a:pt x="3734396" y="2199444"/>
                    </a:cubicBezTo>
                    <a:cubicBezTo>
                      <a:pt x="3690235" y="2205750"/>
                      <a:pt x="3646073" y="2235176"/>
                      <a:pt x="3559852" y="2182629"/>
                    </a:cubicBezTo>
                    <a:cubicBezTo>
                      <a:pt x="3555646" y="2180527"/>
                      <a:pt x="3604014" y="2239379"/>
                      <a:pt x="3641867" y="2241481"/>
                    </a:cubicBezTo>
                    <a:cubicBezTo>
                      <a:pt x="3681823" y="2243583"/>
                      <a:pt x="3702852" y="2239379"/>
                      <a:pt x="3702852" y="2239379"/>
                    </a:cubicBezTo>
                    <a:cubicBezTo>
                      <a:pt x="3784867" y="2228870"/>
                      <a:pt x="3820617" y="2188935"/>
                      <a:pt x="3831132" y="2178425"/>
                    </a:cubicBezTo>
                    <a:cubicBezTo>
                      <a:pt x="3843750" y="2170018"/>
                      <a:pt x="3868985" y="2136388"/>
                      <a:pt x="3868985" y="2136388"/>
                    </a:cubicBezTo>
                    <a:close/>
                    <a:moveTo>
                      <a:pt x="3385344" y="2089937"/>
                    </a:moveTo>
                    <a:cubicBezTo>
                      <a:pt x="3391674" y="2089411"/>
                      <a:pt x="3398532" y="2089937"/>
                      <a:pt x="3403807" y="2092045"/>
                    </a:cubicBezTo>
                    <a:cubicBezTo>
                      <a:pt x="3412247" y="2096259"/>
                      <a:pt x="3418577" y="2104688"/>
                      <a:pt x="3420687" y="2119439"/>
                    </a:cubicBezTo>
                    <a:cubicBezTo>
                      <a:pt x="3422797" y="2132083"/>
                      <a:pt x="3410137" y="2151048"/>
                      <a:pt x="3410137" y="2151048"/>
                    </a:cubicBezTo>
                    <a:cubicBezTo>
                      <a:pt x="3410137" y="2151048"/>
                      <a:pt x="3389037" y="2144726"/>
                      <a:pt x="3380596" y="2144726"/>
                    </a:cubicBezTo>
                    <a:cubicBezTo>
                      <a:pt x="3374266" y="2142619"/>
                      <a:pt x="3353166" y="2146834"/>
                      <a:pt x="3353166" y="2146834"/>
                    </a:cubicBezTo>
                    <a:lnTo>
                      <a:pt x="3353166" y="2113117"/>
                    </a:lnTo>
                    <a:cubicBezTo>
                      <a:pt x="3353166" y="2113117"/>
                      <a:pt x="3365826" y="2096259"/>
                      <a:pt x="3370046" y="2094152"/>
                    </a:cubicBezTo>
                    <a:cubicBezTo>
                      <a:pt x="3373211" y="2092045"/>
                      <a:pt x="3379014" y="2090464"/>
                      <a:pt x="3385344" y="2089937"/>
                    </a:cubicBezTo>
                    <a:close/>
                    <a:moveTo>
                      <a:pt x="2921466" y="1940074"/>
                    </a:moveTo>
                    <a:cubicBezTo>
                      <a:pt x="2903875" y="1940863"/>
                      <a:pt x="2886546" y="1942966"/>
                      <a:pt x="2876044" y="1945069"/>
                    </a:cubicBezTo>
                    <a:cubicBezTo>
                      <a:pt x="2857140" y="1951377"/>
                      <a:pt x="2819332" y="1968200"/>
                      <a:pt x="2796228" y="1980818"/>
                    </a:cubicBezTo>
                    <a:cubicBezTo>
                      <a:pt x="2773123" y="1995538"/>
                      <a:pt x="2716411" y="2018670"/>
                      <a:pt x="2716411" y="2018670"/>
                    </a:cubicBezTo>
                    <a:cubicBezTo>
                      <a:pt x="2716411" y="2018670"/>
                      <a:pt x="2756319" y="2016567"/>
                      <a:pt x="2773123" y="2014464"/>
                    </a:cubicBezTo>
                    <a:cubicBezTo>
                      <a:pt x="2789926" y="2014464"/>
                      <a:pt x="2813031" y="2008155"/>
                      <a:pt x="2813031" y="2008155"/>
                    </a:cubicBezTo>
                    <a:cubicBezTo>
                      <a:pt x="2813031" y="2008155"/>
                      <a:pt x="2802529" y="2046007"/>
                      <a:pt x="2810931" y="2075448"/>
                    </a:cubicBezTo>
                    <a:cubicBezTo>
                      <a:pt x="2817232" y="2102785"/>
                      <a:pt x="2825634" y="2117505"/>
                      <a:pt x="2825634" y="2117505"/>
                    </a:cubicBezTo>
                    <a:cubicBezTo>
                      <a:pt x="2825634" y="2117505"/>
                      <a:pt x="2825634" y="2119608"/>
                      <a:pt x="2817232" y="2123814"/>
                    </a:cubicBezTo>
                    <a:cubicBezTo>
                      <a:pt x="2810931" y="2125917"/>
                      <a:pt x="2773123" y="2157460"/>
                      <a:pt x="2773123" y="2157460"/>
                    </a:cubicBezTo>
                    <a:cubicBezTo>
                      <a:pt x="2773123" y="2157460"/>
                      <a:pt x="2831935" y="2132226"/>
                      <a:pt x="2848738" y="2125917"/>
                    </a:cubicBezTo>
                    <a:cubicBezTo>
                      <a:pt x="2865542" y="2121711"/>
                      <a:pt x="2901249" y="2113300"/>
                      <a:pt x="2941157" y="2104888"/>
                    </a:cubicBezTo>
                    <a:cubicBezTo>
                      <a:pt x="2981066" y="2096476"/>
                      <a:pt x="3111292" y="2106991"/>
                      <a:pt x="3111292" y="2106991"/>
                    </a:cubicBezTo>
                    <a:cubicBezTo>
                      <a:pt x="3111292" y="2106991"/>
                      <a:pt x="3073484" y="2092271"/>
                      <a:pt x="3056681" y="2085962"/>
                    </a:cubicBezTo>
                    <a:cubicBezTo>
                      <a:pt x="3039878" y="2081756"/>
                      <a:pt x="3016773" y="2081756"/>
                      <a:pt x="3016773" y="2081756"/>
                    </a:cubicBezTo>
                    <a:cubicBezTo>
                      <a:pt x="3016773" y="2081756"/>
                      <a:pt x="3029375" y="2052316"/>
                      <a:pt x="3023074" y="2027081"/>
                    </a:cubicBezTo>
                    <a:cubicBezTo>
                      <a:pt x="3016773" y="1999744"/>
                      <a:pt x="2995769" y="1970303"/>
                      <a:pt x="2995769" y="1970303"/>
                    </a:cubicBezTo>
                    <a:cubicBezTo>
                      <a:pt x="2995769" y="1970303"/>
                      <a:pt x="3002070" y="1966098"/>
                      <a:pt x="3018873" y="1966098"/>
                    </a:cubicBezTo>
                    <a:cubicBezTo>
                      <a:pt x="3035677" y="1963995"/>
                      <a:pt x="3065083" y="1957686"/>
                      <a:pt x="3065083" y="1957686"/>
                    </a:cubicBezTo>
                    <a:cubicBezTo>
                      <a:pt x="3065083" y="1957686"/>
                      <a:pt x="2991568" y="1949274"/>
                      <a:pt x="2968463" y="1942966"/>
                    </a:cubicBezTo>
                    <a:cubicBezTo>
                      <a:pt x="2956910" y="1939811"/>
                      <a:pt x="2939057" y="1939286"/>
                      <a:pt x="2921466" y="1940074"/>
                    </a:cubicBezTo>
                    <a:close/>
                    <a:moveTo>
                      <a:pt x="2882143" y="1689578"/>
                    </a:moveTo>
                    <a:cubicBezTo>
                      <a:pt x="2843731" y="1689315"/>
                      <a:pt x="2800057" y="1691418"/>
                      <a:pt x="2779009" y="1700880"/>
                    </a:cubicBezTo>
                    <a:cubicBezTo>
                      <a:pt x="2736913" y="1717702"/>
                      <a:pt x="2720075" y="1810222"/>
                      <a:pt x="2720075" y="1810222"/>
                    </a:cubicBezTo>
                    <a:cubicBezTo>
                      <a:pt x="2720075" y="1810222"/>
                      <a:pt x="2760066" y="1759756"/>
                      <a:pt x="2806371" y="1730318"/>
                    </a:cubicBezTo>
                    <a:cubicBezTo>
                      <a:pt x="2852676" y="1698777"/>
                      <a:pt x="2953705" y="1692469"/>
                      <a:pt x="2953705" y="1692469"/>
                    </a:cubicBezTo>
                    <a:cubicBezTo>
                      <a:pt x="2953705" y="1692469"/>
                      <a:pt x="2920555" y="1689840"/>
                      <a:pt x="2882143" y="1689578"/>
                    </a:cubicBezTo>
                    <a:close/>
                    <a:moveTo>
                      <a:pt x="2751741" y="1152523"/>
                    </a:moveTo>
                    <a:lnTo>
                      <a:pt x="2752273" y="1154187"/>
                    </a:lnTo>
                    <a:lnTo>
                      <a:pt x="2764036" y="1192874"/>
                    </a:lnTo>
                    <a:lnTo>
                      <a:pt x="2787833" y="1274009"/>
                    </a:lnTo>
                    <a:lnTo>
                      <a:pt x="2819472" y="1283014"/>
                    </a:lnTo>
                    <a:lnTo>
                      <a:pt x="2820261" y="1283258"/>
                    </a:lnTo>
                    <a:lnTo>
                      <a:pt x="2825890" y="1283302"/>
                    </a:lnTo>
                    <a:lnTo>
                      <a:pt x="2903747" y="1291542"/>
                    </a:lnTo>
                    <a:lnTo>
                      <a:pt x="2899550" y="1288295"/>
                    </a:lnTo>
                    <a:cubicBezTo>
                      <a:pt x="2806596" y="1216396"/>
                      <a:pt x="2806596" y="1216396"/>
                      <a:pt x="2806596" y="1216396"/>
                    </a:cubicBezTo>
                    <a:cubicBezTo>
                      <a:pt x="2806596" y="1216396"/>
                      <a:pt x="2794376" y="1202454"/>
                      <a:pt x="2775061" y="1179930"/>
                    </a:cubicBezTo>
                    <a:close/>
                    <a:moveTo>
                      <a:pt x="1695768" y="862876"/>
                    </a:moveTo>
                    <a:cubicBezTo>
                      <a:pt x="2078780" y="919680"/>
                      <a:pt x="2078780" y="919680"/>
                      <a:pt x="2078780" y="919680"/>
                    </a:cubicBezTo>
                    <a:cubicBezTo>
                      <a:pt x="2078780" y="919680"/>
                      <a:pt x="2137705" y="923888"/>
                      <a:pt x="2177689" y="938615"/>
                    </a:cubicBezTo>
                    <a:cubicBezTo>
                      <a:pt x="2217674" y="951238"/>
                      <a:pt x="2274495" y="997523"/>
                      <a:pt x="2274495" y="997523"/>
                    </a:cubicBezTo>
                    <a:cubicBezTo>
                      <a:pt x="2274495" y="997523"/>
                      <a:pt x="2226092" y="984900"/>
                      <a:pt x="2192421" y="984900"/>
                    </a:cubicBezTo>
                    <a:cubicBezTo>
                      <a:pt x="2160854" y="987004"/>
                      <a:pt x="2101929" y="1026977"/>
                      <a:pt x="2082989" y="1031185"/>
                    </a:cubicBezTo>
                    <a:cubicBezTo>
                      <a:pt x="2061944" y="1035392"/>
                      <a:pt x="2013542" y="1064846"/>
                      <a:pt x="2013542" y="1064846"/>
                    </a:cubicBezTo>
                    <a:cubicBezTo>
                      <a:pt x="2013542" y="1064846"/>
                      <a:pt x="2118765" y="1039600"/>
                      <a:pt x="2177689" y="1060639"/>
                    </a:cubicBezTo>
                    <a:cubicBezTo>
                      <a:pt x="2234510" y="1081677"/>
                      <a:pt x="2276599" y="1062742"/>
                      <a:pt x="2320793" y="1102716"/>
                    </a:cubicBezTo>
                    <a:cubicBezTo>
                      <a:pt x="2362882" y="1142689"/>
                      <a:pt x="2402867" y="1193182"/>
                      <a:pt x="2402867" y="1193182"/>
                    </a:cubicBezTo>
                    <a:lnTo>
                      <a:pt x="2477977" y="1304520"/>
                    </a:lnTo>
                    <a:lnTo>
                      <a:pt x="2495231" y="1302276"/>
                    </a:lnTo>
                    <a:lnTo>
                      <a:pt x="2479203" y="1263722"/>
                    </a:lnTo>
                    <a:cubicBezTo>
                      <a:pt x="2435552" y="1159125"/>
                      <a:pt x="2373405" y="1012512"/>
                      <a:pt x="2352360" y="974380"/>
                    </a:cubicBezTo>
                    <a:cubicBezTo>
                      <a:pt x="2320793" y="913369"/>
                      <a:pt x="2238719" y="886019"/>
                      <a:pt x="2194525" y="875499"/>
                    </a:cubicBezTo>
                    <a:cubicBezTo>
                      <a:pt x="2150331" y="862876"/>
                      <a:pt x="1695768" y="862876"/>
                      <a:pt x="1695768" y="862876"/>
                    </a:cubicBezTo>
                    <a:close/>
                    <a:moveTo>
                      <a:pt x="2884074" y="435929"/>
                    </a:moveTo>
                    <a:cubicBezTo>
                      <a:pt x="2884074" y="435929"/>
                      <a:pt x="2919884" y="555927"/>
                      <a:pt x="2987291" y="631716"/>
                    </a:cubicBezTo>
                    <a:cubicBezTo>
                      <a:pt x="3054698" y="705399"/>
                      <a:pt x="3130531" y="1008552"/>
                      <a:pt x="3130531" y="1008552"/>
                    </a:cubicBezTo>
                    <a:cubicBezTo>
                      <a:pt x="3130531" y="1008552"/>
                      <a:pt x="3115786" y="812766"/>
                      <a:pt x="3063124" y="682241"/>
                    </a:cubicBezTo>
                    <a:cubicBezTo>
                      <a:pt x="3063124" y="682241"/>
                      <a:pt x="2993611" y="549612"/>
                      <a:pt x="2970440" y="520138"/>
                    </a:cubicBezTo>
                    <a:cubicBezTo>
                      <a:pt x="2945162" y="490665"/>
                      <a:pt x="2884074" y="435929"/>
                      <a:pt x="2884074" y="435929"/>
                    </a:cubicBezTo>
                    <a:close/>
                    <a:moveTo>
                      <a:pt x="990408" y="698"/>
                    </a:moveTo>
                    <a:cubicBezTo>
                      <a:pt x="1005101" y="-321"/>
                      <a:pt x="1021142" y="-189"/>
                      <a:pt x="1039550" y="863"/>
                    </a:cubicBezTo>
                    <a:cubicBezTo>
                      <a:pt x="1111078" y="5070"/>
                      <a:pt x="1258341" y="38728"/>
                      <a:pt x="1348803" y="72387"/>
                    </a:cubicBezTo>
                    <a:cubicBezTo>
                      <a:pt x="1439264" y="103941"/>
                      <a:pt x="1653848" y="181776"/>
                      <a:pt x="1737998" y="232264"/>
                    </a:cubicBezTo>
                    <a:cubicBezTo>
                      <a:pt x="1830564" y="284855"/>
                      <a:pt x="1914714" y="318513"/>
                      <a:pt x="2005176" y="371104"/>
                    </a:cubicBezTo>
                    <a:cubicBezTo>
                      <a:pt x="2051459" y="397400"/>
                      <a:pt x="2127194" y="436317"/>
                      <a:pt x="2203455" y="477601"/>
                    </a:cubicBezTo>
                    <a:lnTo>
                      <a:pt x="2296994" y="530121"/>
                    </a:lnTo>
                    <a:lnTo>
                      <a:pt x="2323986" y="546882"/>
                    </a:lnTo>
                    <a:lnTo>
                      <a:pt x="2357160" y="567482"/>
                    </a:lnTo>
                    <a:lnTo>
                      <a:pt x="2404890" y="598298"/>
                    </a:lnTo>
                    <a:lnTo>
                      <a:pt x="2415440" y="605928"/>
                    </a:lnTo>
                    <a:lnTo>
                      <a:pt x="2362991" y="493093"/>
                    </a:lnTo>
                    <a:cubicBezTo>
                      <a:pt x="2362991" y="493093"/>
                      <a:pt x="2362991" y="493093"/>
                      <a:pt x="2329266" y="483333"/>
                    </a:cubicBezTo>
                    <a:lnTo>
                      <a:pt x="2307060" y="476906"/>
                    </a:lnTo>
                    <a:lnTo>
                      <a:pt x="2313198" y="470584"/>
                    </a:lnTo>
                    <a:cubicBezTo>
                      <a:pt x="2335494" y="447752"/>
                      <a:pt x="2406858" y="375701"/>
                      <a:pt x="2460566" y="333037"/>
                    </a:cubicBezTo>
                    <a:lnTo>
                      <a:pt x="2482676" y="317005"/>
                    </a:lnTo>
                    <a:lnTo>
                      <a:pt x="2522361" y="296868"/>
                    </a:lnTo>
                    <a:lnTo>
                      <a:pt x="2554579" y="283748"/>
                    </a:lnTo>
                    <a:cubicBezTo>
                      <a:pt x="2588217" y="269017"/>
                      <a:pt x="2633417" y="251656"/>
                      <a:pt x="2694384" y="254812"/>
                    </a:cubicBezTo>
                    <a:cubicBezTo>
                      <a:pt x="2724868" y="256391"/>
                      <a:pt x="2759293" y="263098"/>
                      <a:pt x="2798186" y="277829"/>
                    </a:cubicBezTo>
                    <a:cubicBezTo>
                      <a:pt x="2951656" y="336753"/>
                      <a:pt x="2857052" y="260994"/>
                      <a:pt x="2857052" y="260994"/>
                    </a:cubicBezTo>
                    <a:cubicBezTo>
                      <a:pt x="2857052" y="260994"/>
                      <a:pt x="2858530" y="261224"/>
                      <a:pt x="2861191" y="261705"/>
                    </a:cubicBezTo>
                    <a:lnTo>
                      <a:pt x="2866568" y="262766"/>
                    </a:lnTo>
                    <a:lnTo>
                      <a:pt x="2867847" y="263215"/>
                    </a:lnTo>
                    <a:cubicBezTo>
                      <a:pt x="2872013" y="264887"/>
                      <a:pt x="2874182" y="265939"/>
                      <a:pt x="2874182" y="265939"/>
                    </a:cubicBezTo>
                    <a:cubicBezTo>
                      <a:pt x="2874182" y="265939"/>
                      <a:pt x="2875760" y="265775"/>
                      <a:pt x="2878772" y="265783"/>
                    </a:cubicBezTo>
                    <a:lnTo>
                      <a:pt x="2879970" y="265863"/>
                    </a:lnTo>
                    <a:lnTo>
                      <a:pt x="2909084" y="273357"/>
                    </a:lnTo>
                    <a:cubicBezTo>
                      <a:pt x="2937466" y="282038"/>
                      <a:pt x="2970577" y="295717"/>
                      <a:pt x="2989498" y="315709"/>
                    </a:cubicBezTo>
                    <a:cubicBezTo>
                      <a:pt x="3027340" y="357797"/>
                      <a:pt x="3391043" y="702920"/>
                      <a:pt x="3365815" y="925987"/>
                    </a:cubicBezTo>
                    <a:cubicBezTo>
                      <a:pt x="3351098" y="1060670"/>
                      <a:pt x="3227061" y="1315303"/>
                      <a:pt x="3233368" y="1376331"/>
                    </a:cubicBezTo>
                    <a:cubicBezTo>
                      <a:pt x="3234682" y="1385538"/>
                      <a:pt x="3236920" y="1397159"/>
                      <a:pt x="3239761" y="1410216"/>
                    </a:cubicBezTo>
                    <a:lnTo>
                      <a:pt x="3243622" y="1426604"/>
                    </a:lnTo>
                    <a:lnTo>
                      <a:pt x="3302854" y="1472111"/>
                    </a:lnTo>
                    <a:cubicBezTo>
                      <a:pt x="3370331" y="1532754"/>
                      <a:pt x="3422311" y="1609600"/>
                      <a:pt x="3442037" y="1705090"/>
                    </a:cubicBezTo>
                    <a:lnTo>
                      <a:pt x="3433973" y="1732860"/>
                    </a:lnTo>
                    <a:lnTo>
                      <a:pt x="3404867" y="1673697"/>
                    </a:lnTo>
                    <a:cubicBezTo>
                      <a:pt x="3399074" y="1661664"/>
                      <a:pt x="3393479" y="1649944"/>
                      <a:pt x="3388345" y="1639131"/>
                    </a:cubicBezTo>
                    <a:lnTo>
                      <a:pt x="3377441" y="1616053"/>
                    </a:lnTo>
                    <a:lnTo>
                      <a:pt x="3359581" y="1565598"/>
                    </a:lnTo>
                    <a:cubicBezTo>
                      <a:pt x="3359581" y="1565598"/>
                      <a:pt x="3359581" y="1565598"/>
                      <a:pt x="3361687" y="1582431"/>
                    </a:cubicBezTo>
                    <a:cubicBezTo>
                      <a:pt x="3361687" y="1582431"/>
                      <a:pt x="3366690" y="1593215"/>
                      <a:pt x="3374588" y="1610015"/>
                    </a:cubicBezTo>
                    <a:lnTo>
                      <a:pt x="3377441" y="1616053"/>
                    </a:lnTo>
                    <a:lnTo>
                      <a:pt x="3442901" y="1800978"/>
                    </a:lnTo>
                    <a:lnTo>
                      <a:pt x="3440408" y="1796829"/>
                    </a:lnTo>
                    <a:cubicBezTo>
                      <a:pt x="3438644" y="1793891"/>
                      <a:pt x="3436291" y="1789974"/>
                      <a:pt x="3433154" y="1784752"/>
                    </a:cubicBezTo>
                    <a:cubicBezTo>
                      <a:pt x="3433154" y="1784752"/>
                      <a:pt x="3414332" y="1768041"/>
                      <a:pt x="3397602" y="1761774"/>
                    </a:cubicBezTo>
                    <a:cubicBezTo>
                      <a:pt x="3380871" y="1753418"/>
                      <a:pt x="3349501" y="1755507"/>
                      <a:pt x="3349501" y="1755507"/>
                    </a:cubicBezTo>
                    <a:cubicBezTo>
                      <a:pt x="3349501" y="1755507"/>
                      <a:pt x="3380871" y="1768041"/>
                      <a:pt x="3395510" y="1772218"/>
                    </a:cubicBezTo>
                    <a:cubicBezTo>
                      <a:pt x="3406489" y="1773785"/>
                      <a:pt x="3429233" y="1791802"/>
                      <a:pt x="3439918" y="1800713"/>
                    </a:cubicBezTo>
                    <a:lnTo>
                      <a:pt x="3444055" y="1804238"/>
                    </a:lnTo>
                    <a:lnTo>
                      <a:pt x="3555468" y="2118980"/>
                    </a:lnTo>
                    <a:cubicBezTo>
                      <a:pt x="3555468" y="2118980"/>
                      <a:pt x="3553888" y="2108460"/>
                      <a:pt x="3553362" y="2091890"/>
                    </a:cubicBezTo>
                    <a:lnTo>
                      <a:pt x="3553487" y="2080908"/>
                    </a:lnTo>
                    <a:lnTo>
                      <a:pt x="3554536" y="2083695"/>
                    </a:lnTo>
                    <a:cubicBezTo>
                      <a:pt x="3566426" y="2115277"/>
                      <a:pt x="3569399" y="2123172"/>
                      <a:pt x="3570142" y="2125146"/>
                    </a:cubicBezTo>
                    <a:lnTo>
                      <a:pt x="3570375" y="2125765"/>
                    </a:lnTo>
                    <a:lnTo>
                      <a:pt x="3570326" y="2125774"/>
                    </a:lnTo>
                    <a:cubicBezTo>
                      <a:pt x="3545075" y="2130508"/>
                      <a:pt x="3536395" y="2124591"/>
                      <a:pt x="3524755" y="2128437"/>
                    </a:cubicBezTo>
                    <a:lnTo>
                      <a:pt x="3520991" y="2130652"/>
                    </a:lnTo>
                    <a:lnTo>
                      <a:pt x="3519898" y="2125754"/>
                    </a:lnTo>
                    <a:cubicBezTo>
                      <a:pt x="3517794" y="2116808"/>
                      <a:pt x="3515165" y="2106809"/>
                      <a:pt x="3513061" y="2102599"/>
                    </a:cubicBezTo>
                    <a:cubicBezTo>
                      <a:pt x="3510958" y="2096283"/>
                      <a:pt x="3498337" y="2064707"/>
                      <a:pt x="3485716" y="2058392"/>
                    </a:cubicBezTo>
                    <a:cubicBezTo>
                      <a:pt x="3475198" y="2052077"/>
                      <a:pt x="3435232" y="2037341"/>
                      <a:pt x="3422611" y="2039446"/>
                    </a:cubicBezTo>
                    <a:cubicBezTo>
                      <a:pt x="3409989" y="2039446"/>
                      <a:pt x="3397368" y="2045762"/>
                      <a:pt x="3384747" y="2043657"/>
                    </a:cubicBezTo>
                    <a:cubicBezTo>
                      <a:pt x="3372126" y="2041551"/>
                      <a:pt x="3334263" y="2031026"/>
                      <a:pt x="3334263" y="2031026"/>
                    </a:cubicBezTo>
                    <a:cubicBezTo>
                      <a:pt x="3378437" y="2058392"/>
                      <a:pt x="3378437" y="2058392"/>
                      <a:pt x="3378437" y="2058392"/>
                    </a:cubicBezTo>
                    <a:cubicBezTo>
                      <a:pt x="3378437" y="2058392"/>
                      <a:pt x="3359505" y="2079443"/>
                      <a:pt x="3357402" y="2092073"/>
                    </a:cubicBezTo>
                    <a:cubicBezTo>
                      <a:pt x="3348988" y="2111019"/>
                      <a:pt x="3351091" y="2140490"/>
                      <a:pt x="3351091" y="2140490"/>
                    </a:cubicBezTo>
                    <a:cubicBezTo>
                      <a:pt x="3317435" y="2140490"/>
                      <a:pt x="3317435" y="2140490"/>
                      <a:pt x="3317435" y="2140490"/>
                    </a:cubicBezTo>
                    <a:cubicBezTo>
                      <a:pt x="3317435" y="2140490"/>
                      <a:pt x="3348988" y="2148910"/>
                      <a:pt x="3359505" y="2155225"/>
                    </a:cubicBezTo>
                    <a:cubicBezTo>
                      <a:pt x="3370023" y="2161541"/>
                      <a:pt x="3395265" y="2172066"/>
                      <a:pt x="3416300" y="2180486"/>
                    </a:cubicBezTo>
                    <a:cubicBezTo>
                      <a:pt x="3432076" y="2186801"/>
                      <a:pt x="3457318" y="2199037"/>
                      <a:pt x="3468953" y="2204760"/>
                    </a:cubicBezTo>
                    <a:lnTo>
                      <a:pt x="3471183" y="2205864"/>
                    </a:lnTo>
                    <a:lnTo>
                      <a:pt x="3465112" y="2222558"/>
                    </a:lnTo>
                    <a:cubicBezTo>
                      <a:pt x="3458799" y="2247805"/>
                      <a:pt x="3418818" y="2359317"/>
                      <a:pt x="3404088" y="2397188"/>
                    </a:cubicBezTo>
                    <a:cubicBezTo>
                      <a:pt x="3389358" y="2435060"/>
                      <a:pt x="3303083" y="2544467"/>
                      <a:pt x="3303083" y="2544467"/>
                    </a:cubicBezTo>
                    <a:cubicBezTo>
                      <a:pt x="3303083" y="2544467"/>
                      <a:pt x="3383045" y="2468724"/>
                      <a:pt x="3395671" y="2456100"/>
                    </a:cubicBezTo>
                    <a:cubicBezTo>
                      <a:pt x="3410401" y="2443476"/>
                      <a:pt x="3429339" y="2411916"/>
                      <a:pt x="3450382" y="2386668"/>
                    </a:cubicBezTo>
                    <a:cubicBezTo>
                      <a:pt x="3469321" y="2363525"/>
                      <a:pt x="3515615" y="2209934"/>
                      <a:pt x="3526136" y="2184686"/>
                    </a:cubicBezTo>
                    <a:cubicBezTo>
                      <a:pt x="3538762" y="2157334"/>
                      <a:pt x="3574535" y="2159438"/>
                      <a:pt x="3618725" y="2163646"/>
                    </a:cubicBezTo>
                    <a:cubicBezTo>
                      <a:pt x="3665019" y="2167854"/>
                      <a:pt x="3707104" y="2155230"/>
                      <a:pt x="3751294" y="2136294"/>
                    </a:cubicBezTo>
                    <a:cubicBezTo>
                      <a:pt x="3772337" y="2126826"/>
                      <a:pt x="3786015" y="2113676"/>
                      <a:pt x="3799430" y="2104735"/>
                    </a:cubicBezTo>
                    <a:lnTo>
                      <a:pt x="3810437" y="2099831"/>
                    </a:lnTo>
                    <a:lnTo>
                      <a:pt x="3824461" y="2097367"/>
                    </a:lnTo>
                    <a:lnTo>
                      <a:pt x="3829342" y="2096510"/>
                    </a:lnTo>
                    <a:lnTo>
                      <a:pt x="3845987" y="2098423"/>
                    </a:lnTo>
                    <a:cubicBezTo>
                      <a:pt x="3885968" y="2111046"/>
                      <a:pt x="3894385" y="2134190"/>
                      <a:pt x="3904907" y="2180478"/>
                    </a:cubicBezTo>
                    <a:cubicBezTo>
                      <a:pt x="3915428" y="2226766"/>
                      <a:pt x="3885968" y="2315133"/>
                      <a:pt x="3885968" y="2315133"/>
                    </a:cubicBezTo>
                    <a:cubicBezTo>
                      <a:pt x="3885968" y="2315133"/>
                      <a:pt x="3885508" y="2319834"/>
                      <a:pt x="3884225" y="2328571"/>
                    </a:cubicBezTo>
                    <a:lnTo>
                      <a:pt x="3881324" y="2344937"/>
                    </a:lnTo>
                    <a:lnTo>
                      <a:pt x="3878738" y="2354578"/>
                    </a:lnTo>
                    <a:cubicBezTo>
                      <a:pt x="3870987" y="2383473"/>
                      <a:pt x="3863790" y="2410304"/>
                      <a:pt x="3857107" y="2435219"/>
                    </a:cubicBezTo>
                    <a:lnTo>
                      <a:pt x="3839183" y="2502042"/>
                    </a:lnTo>
                    <a:lnTo>
                      <a:pt x="3806236" y="2584501"/>
                    </a:lnTo>
                    <a:cubicBezTo>
                      <a:pt x="3765301" y="2675605"/>
                      <a:pt x="3703948" y="2779062"/>
                      <a:pt x="3612412" y="2876897"/>
                    </a:cubicBezTo>
                    <a:cubicBezTo>
                      <a:pt x="3370419" y="3137791"/>
                      <a:pt x="3046360" y="2935809"/>
                      <a:pt x="3004275" y="2912665"/>
                    </a:cubicBezTo>
                    <a:cubicBezTo>
                      <a:pt x="2962189" y="2889521"/>
                      <a:pt x="2852767" y="2792738"/>
                      <a:pt x="2812785" y="2759074"/>
                    </a:cubicBezTo>
                    <a:cubicBezTo>
                      <a:pt x="2770700" y="2725410"/>
                      <a:pt x="2726510" y="2651771"/>
                      <a:pt x="2726510" y="2651771"/>
                    </a:cubicBezTo>
                    <a:cubicBezTo>
                      <a:pt x="2726510" y="2651771"/>
                      <a:pt x="2724406" y="2649667"/>
                      <a:pt x="2722301" y="2655979"/>
                    </a:cubicBezTo>
                    <a:cubicBezTo>
                      <a:pt x="2720197" y="2662291"/>
                      <a:pt x="2699154" y="2727514"/>
                      <a:pt x="2686529" y="2750658"/>
                    </a:cubicBezTo>
                    <a:cubicBezTo>
                      <a:pt x="2676007" y="2771698"/>
                      <a:pt x="2661277" y="2782218"/>
                      <a:pt x="2646547" y="2799050"/>
                    </a:cubicBezTo>
                    <a:cubicBezTo>
                      <a:pt x="2633922" y="2817986"/>
                      <a:pt x="2612879" y="2845337"/>
                      <a:pt x="2593940" y="2887417"/>
                    </a:cubicBezTo>
                    <a:cubicBezTo>
                      <a:pt x="2575002" y="2929497"/>
                      <a:pt x="2606566" y="2963160"/>
                      <a:pt x="2606566" y="2963160"/>
                    </a:cubicBezTo>
                    <a:cubicBezTo>
                      <a:pt x="2627609" y="2988408"/>
                      <a:pt x="2697050" y="3005240"/>
                      <a:pt x="2724406" y="3001032"/>
                    </a:cubicBezTo>
                    <a:cubicBezTo>
                      <a:pt x="2654964" y="2986304"/>
                      <a:pt x="2614983" y="2916873"/>
                      <a:pt x="2614983" y="2916873"/>
                    </a:cubicBezTo>
                    <a:cubicBezTo>
                      <a:pt x="2614983" y="2916873"/>
                      <a:pt x="2614983" y="2916873"/>
                      <a:pt x="2636026" y="2931601"/>
                    </a:cubicBezTo>
                    <a:cubicBezTo>
                      <a:pt x="2654964" y="2946329"/>
                      <a:pt x="2688633" y="2969472"/>
                      <a:pt x="2741240" y="2975784"/>
                    </a:cubicBezTo>
                    <a:cubicBezTo>
                      <a:pt x="2793847" y="2982096"/>
                      <a:pt x="2823307" y="2935809"/>
                      <a:pt x="2823307" y="2935809"/>
                    </a:cubicBezTo>
                    <a:cubicBezTo>
                      <a:pt x="2823307" y="2935809"/>
                      <a:pt x="2823307" y="2935809"/>
                      <a:pt x="2869601" y="2874793"/>
                    </a:cubicBezTo>
                    <a:cubicBezTo>
                      <a:pt x="2869601" y="2874793"/>
                      <a:pt x="2869601" y="2874793"/>
                      <a:pt x="2909582" y="2914769"/>
                    </a:cubicBezTo>
                    <a:cubicBezTo>
                      <a:pt x="2909582" y="2914769"/>
                      <a:pt x="2838037" y="2988408"/>
                      <a:pt x="2804368" y="3009448"/>
                    </a:cubicBezTo>
                    <a:cubicBezTo>
                      <a:pt x="2770700" y="3030488"/>
                      <a:pt x="2715988" y="3045216"/>
                      <a:pt x="2631817" y="3019968"/>
                    </a:cubicBezTo>
                    <a:lnTo>
                      <a:pt x="2592812" y="2997729"/>
                    </a:lnTo>
                    <a:lnTo>
                      <a:pt x="2571463" y="2978979"/>
                    </a:lnTo>
                    <a:lnTo>
                      <a:pt x="2569646" y="2977384"/>
                    </a:lnTo>
                    <a:lnTo>
                      <a:pt x="2550477" y="2953365"/>
                    </a:lnTo>
                    <a:lnTo>
                      <a:pt x="2543509" y="2942341"/>
                    </a:lnTo>
                    <a:lnTo>
                      <a:pt x="2527951" y="2910199"/>
                    </a:lnTo>
                    <a:cubicBezTo>
                      <a:pt x="2524104" y="2900173"/>
                      <a:pt x="2522395" y="2893729"/>
                      <a:pt x="2522395" y="2893729"/>
                    </a:cubicBezTo>
                    <a:cubicBezTo>
                      <a:pt x="2522395" y="2893729"/>
                      <a:pt x="2522395" y="2893729"/>
                      <a:pt x="2457162" y="2748554"/>
                    </a:cubicBezTo>
                    <a:cubicBezTo>
                      <a:pt x="2457162" y="2748554"/>
                      <a:pt x="2396138" y="2689642"/>
                      <a:pt x="2362469" y="2651771"/>
                    </a:cubicBezTo>
                    <a:lnTo>
                      <a:pt x="2340024" y="2621933"/>
                    </a:lnTo>
                    <a:lnTo>
                      <a:pt x="2338457" y="2619477"/>
                    </a:lnTo>
                    <a:cubicBezTo>
                      <a:pt x="2304048" y="2565541"/>
                      <a:pt x="2304048" y="2565541"/>
                      <a:pt x="2304048" y="2565541"/>
                    </a:cubicBezTo>
                    <a:cubicBezTo>
                      <a:pt x="2304048" y="2565541"/>
                      <a:pt x="2271838" y="2433449"/>
                      <a:pt x="2335655" y="2318674"/>
                    </a:cubicBezTo>
                    <a:lnTo>
                      <a:pt x="2366996" y="2274192"/>
                    </a:lnTo>
                    <a:lnTo>
                      <a:pt x="2347572" y="2275513"/>
                    </a:lnTo>
                    <a:cubicBezTo>
                      <a:pt x="2338243" y="2274970"/>
                      <a:pt x="2329202" y="2273030"/>
                      <a:pt x="2320522" y="2269084"/>
                    </a:cubicBezTo>
                    <a:cubicBezTo>
                      <a:pt x="2253189" y="2237517"/>
                      <a:pt x="2057503" y="2182801"/>
                      <a:pt x="2038565" y="2062847"/>
                    </a:cubicBezTo>
                    <a:cubicBezTo>
                      <a:pt x="2024363" y="1972882"/>
                      <a:pt x="2014894" y="1779929"/>
                      <a:pt x="2043892" y="1618938"/>
                    </a:cubicBezTo>
                    <a:lnTo>
                      <a:pt x="2058099" y="1557525"/>
                    </a:lnTo>
                    <a:lnTo>
                      <a:pt x="2055755" y="1558228"/>
                    </a:lnTo>
                    <a:lnTo>
                      <a:pt x="2050316" y="1559430"/>
                    </a:lnTo>
                    <a:cubicBezTo>
                      <a:pt x="1969609" y="1577348"/>
                      <a:pt x="1639648" y="1651436"/>
                      <a:pt x="1525518" y="1690090"/>
                    </a:cubicBezTo>
                    <a:cubicBezTo>
                      <a:pt x="1395085" y="1734267"/>
                      <a:pt x="1087937" y="1875211"/>
                      <a:pt x="946985" y="1875211"/>
                    </a:cubicBezTo>
                    <a:cubicBezTo>
                      <a:pt x="751335" y="1873108"/>
                      <a:pt x="559893" y="1858382"/>
                      <a:pt x="559893" y="1858382"/>
                    </a:cubicBezTo>
                    <a:cubicBezTo>
                      <a:pt x="559893" y="1858382"/>
                      <a:pt x="488365" y="1593323"/>
                      <a:pt x="412630" y="1498659"/>
                    </a:cubicBezTo>
                    <a:cubicBezTo>
                      <a:pt x="334791" y="1403995"/>
                      <a:pt x="94962" y="1208355"/>
                      <a:pt x="46576" y="1063204"/>
                    </a:cubicBezTo>
                    <a:cubicBezTo>
                      <a:pt x="293" y="915949"/>
                      <a:pt x="-24952" y="798144"/>
                      <a:pt x="36057" y="665615"/>
                    </a:cubicBezTo>
                    <a:cubicBezTo>
                      <a:pt x="94962" y="535189"/>
                      <a:pt x="191735" y="459457"/>
                      <a:pt x="191735" y="459457"/>
                    </a:cubicBezTo>
                    <a:cubicBezTo>
                      <a:pt x="191735" y="459457"/>
                      <a:pt x="294819" y="455250"/>
                      <a:pt x="374762" y="465768"/>
                    </a:cubicBezTo>
                    <a:cubicBezTo>
                      <a:pt x="456809" y="476287"/>
                      <a:pt x="587242" y="499427"/>
                      <a:pt x="677704" y="528878"/>
                    </a:cubicBezTo>
                    <a:cubicBezTo>
                      <a:pt x="766061" y="558329"/>
                      <a:pt x="1090040" y="713999"/>
                      <a:pt x="1090040" y="713999"/>
                    </a:cubicBezTo>
                    <a:cubicBezTo>
                      <a:pt x="736609" y="514152"/>
                      <a:pt x="736609" y="514152"/>
                      <a:pt x="736609" y="514152"/>
                    </a:cubicBezTo>
                    <a:cubicBezTo>
                      <a:pt x="503092" y="423695"/>
                      <a:pt x="503092" y="423695"/>
                      <a:pt x="503092" y="423695"/>
                    </a:cubicBezTo>
                    <a:cubicBezTo>
                      <a:pt x="503092" y="423695"/>
                      <a:pt x="606176" y="362690"/>
                      <a:pt x="700845" y="246989"/>
                    </a:cubicBezTo>
                    <a:cubicBezTo>
                      <a:pt x="795514" y="131289"/>
                      <a:pt x="803929" y="89216"/>
                      <a:pt x="867042" y="47143"/>
                    </a:cubicBezTo>
                    <a:cubicBezTo>
                      <a:pt x="914377" y="17166"/>
                      <a:pt x="946327" y="3755"/>
                      <a:pt x="990408" y="698"/>
                    </a:cubicBezTo>
                    <a:close/>
                  </a:path>
                </a:pathLst>
              </a:custGeom>
              <a:solidFill>
                <a:srgbClr val="FAED22"/>
              </a:solidFill>
              <a:ln w="3175">
                <a:solidFill>
                  <a:schemeClr val="tx1"/>
                </a:solidFill>
              </a:ln>
            </p:spPr>
            <p:txBody>
              <a:bodyPr vert="horz" wrap="square" lIns="89642" tIns="44821" rIns="89642" bIns="44821" numCol="1" anchor="t" anchorCtr="0" compatLnSpc="1">
                <a:prstTxWarp prst="textNoShape">
                  <a:avLst/>
                </a:prstTxWarp>
                <a:noAutofit/>
              </a:bodyPr>
              <a:lstStyle/>
              <a:p>
                <a:pPr defTabSz="896386"/>
                <a:endParaRPr lang="en-IN" sz="1765" kern="0">
                  <a:solidFill>
                    <a:sysClr val="windowText" lastClr="000000"/>
                  </a:solidFill>
                </a:endParaRPr>
              </a:p>
            </p:txBody>
          </p:sp>
        </p:grpSp>
      </p:grpSp>
      <p:pic>
        <p:nvPicPr>
          <p:cNvPr id="27" name="Picture 4" descr="http://www.thebhwgroup.com/blog/wp-content/uploads/2014/10/pig-logo.png"/>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004086" y="5528440"/>
            <a:ext cx="474056" cy="712865"/>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12" name="TextBox 111"/>
          <p:cNvSpPr txBox="1"/>
          <p:nvPr/>
        </p:nvSpPr>
        <p:spPr>
          <a:xfrm>
            <a:off x="6923121" y="5126918"/>
            <a:ext cx="1077959" cy="3469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ctr" anchorCtr="0" forceAA="0" compatLnSpc="1">
            <a:prstTxWarp prst="textNoShape">
              <a:avLst/>
            </a:prstTxWarp>
            <a:spAutoFit/>
          </a:bodyPr>
          <a:lstStyle>
            <a:defPPr>
              <a:defRPr lang="en-US"/>
            </a:defPPr>
            <a:lvl1pPr defTabSz="932133" fontAlgn="base">
              <a:spcBef>
                <a:spcPts val="200"/>
              </a:spcBef>
              <a:spcAft>
                <a:spcPts val="300"/>
              </a:spcAft>
              <a:defRPr sz="2000">
                <a:solidFill>
                  <a:schemeClr val="tx2"/>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14367">
              <a:spcBef>
                <a:spcPts val="588"/>
              </a:spcBef>
              <a:spcAft>
                <a:spcPts val="588"/>
              </a:spcAft>
              <a:defRPr/>
            </a:pPr>
            <a:r>
              <a:rPr lang="en-US" sz="1961" b="1" kern="0" dirty="0">
                <a:ea typeface="+mn-ea"/>
                <a:cs typeface="+mn-cs"/>
              </a:rPr>
              <a:t>Hive </a:t>
            </a:r>
          </a:p>
        </p:txBody>
      </p:sp>
      <p:sp>
        <p:nvSpPr>
          <p:cNvPr id="113" name="TextBox 112"/>
          <p:cNvSpPr txBox="1"/>
          <p:nvPr/>
        </p:nvSpPr>
        <p:spPr>
          <a:xfrm>
            <a:off x="8703017" y="5126918"/>
            <a:ext cx="1077959" cy="3469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ctr" anchorCtr="0" forceAA="0" compatLnSpc="1">
            <a:prstTxWarp prst="textNoShape">
              <a:avLst/>
            </a:prstTxWarp>
            <a:spAutoFit/>
          </a:bodyPr>
          <a:lstStyle>
            <a:defPPr>
              <a:defRPr lang="en-US"/>
            </a:defPPr>
            <a:lvl1pPr defTabSz="932133" fontAlgn="base">
              <a:spcBef>
                <a:spcPts val="200"/>
              </a:spcBef>
              <a:spcAft>
                <a:spcPts val="300"/>
              </a:spcAft>
              <a:defRPr sz="2000">
                <a:solidFill>
                  <a:schemeClr val="tx2"/>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14367">
              <a:spcBef>
                <a:spcPts val="588"/>
              </a:spcBef>
              <a:spcAft>
                <a:spcPts val="588"/>
              </a:spcAft>
              <a:defRPr/>
            </a:pPr>
            <a:r>
              <a:rPr lang="en-US" sz="1961" b="1" kern="0" dirty="0">
                <a:ea typeface="+mn-ea"/>
                <a:cs typeface="+mn-cs"/>
              </a:rPr>
              <a:t>Pig</a:t>
            </a:r>
          </a:p>
        </p:txBody>
      </p:sp>
      <p:sp>
        <p:nvSpPr>
          <p:cNvPr id="114" name="TextBox 113"/>
          <p:cNvSpPr txBox="1"/>
          <p:nvPr/>
        </p:nvSpPr>
        <p:spPr>
          <a:xfrm>
            <a:off x="10482910" y="5126918"/>
            <a:ext cx="1077959" cy="3469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ctr" anchorCtr="0" forceAA="0" compatLnSpc="1">
            <a:prstTxWarp prst="textNoShape">
              <a:avLst/>
            </a:prstTxWarp>
            <a:spAutoFit/>
          </a:bodyPr>
          <a:lstStyle>
            <a:defPPr>
              <a:defRPr lang="en-US"/>
            </a:defPPr>
            <a:lvl1pPr defTabSz="932133" fontAlgn="base">
              <a:spcBef>
                <a:spcPts val="200"/>
              </a:spcBef>
              <a:spcAft>
                <a:spcPts val="300"/>
              </a:spcAft>
              <a:defRPr sz="2000">
                <a:solidFill>
                  <a:schemeClr val="tx2"/>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14367">
              <a:spcBef>
                <a:spcPts val="588"/>
              </a:spcBef>
              <a:spcAft>
                <a:spcPts val="588"/>
              </a:spcAft>
              <a:defRPr/>
            </a:pPr>
            <a:r>
              <a:rPr lang="en-US" sz="1961" b="1" kern="0" dirty="0">
                <a:ea typeface="+mn-ea"/>
                <a:cs typeface="+mn-cs"/>
              </a:rPr>
              <a:t>M/R</a:t>
            </a:r>
          </a:p>
        </p:txBody>
      </p:sp>
      <p:cxnSp>
        <p:nvCxnSpPr>
          <p:cNvPr id="118" name="Straight Connector 117"/>
          <p:cNvCxnSpPr/>
          <p:nvPr/>
        </p:nvCxnSpPr>
        <p:spPr>
          <a:xfrm>
            <a:off x="8352049" y="5331258"/>
            <a:ext cx="0" cy="806782"/>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0131944" y="5331258"/>
            <a:ext cx="0" cy="806782"/>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4"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10514316" y="5456934"/>
            <a:ext cx="883975" cy="883973"/>
          </a:xfrm>
          <a:prstGeom prst="rect">
            <a:avLst/>
          </a:prstGeom>
        </p:spPr>
      </p:pic>
      <p:grpSp>
        <p:nvGrpSpPr>
          <p:cNvPr id="306" name="Group 305"/>
          <p:cNvGrpSpPr/>
          <p:nvPr/>
        </p:nvGrpSpPr>
        <p:grpSpPr>
          <a:xfrm>
            <a:off x="4819624" y="1207411"/>
            <a:ext cx="2552754" cy="2378775"/>
            <a:chOff x="5049148" y="1354951"/>
            <a:chExt cx="2338179" cy="2178824"/>
          </a:xfrm>
        </p:grpSpPr>
        <p:grpSp>
          <p:nvGrpSpPr>
            <p:cNvPr id="175" name="Group 174"/>
            <p:cNvGrpSpPr/>
            <p:nvPr/>
          </p:nvGrpSpPr>
          <p:grpSpPr>
            <a:xfrm>
              <a:off x="5215530" y="1662970"/>
              <a:ext cx="1633683" cy="1554670"/>
              <a:chOff x="586740" y="-1055045"/>
              <a:chExt cx="8183880" cy="7788065"/>
            </a:xfrm>
          </p:grpSpPr>
          <p:grpSp>
            <p:nvGrpSpPr>
              <p:cNvPr id="230" name="Group 229"/>
              <p:cNvGrpSpPr/>
              <p:nvPr/>
            </p:nvGrpSpPr>
            <p:grpSpPr>
              <a:xfrm>
                <a:off x="5996940" y="752203"/>
                <a:ext cx="2773680" cy="2288603"/>
                <a:chOff x="4244340" y="3909060"/>
                <a:chExt cx="2773680" cy="2288603"/>
              </a:xfrm>
            </p:grpSpPr>
            <p:sp>
              <p:nvSpPr>
                <p:cNvPr id="296" name="Freeform 295"/>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97" name="Freeform 296"/>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98" name="Freeform 297"/>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99" name="Freeform 298"/>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31" name="Group 230"/>
              <p:cNvGrpSpPr/>
              <p:nvPr/>
            </p:nvGrpSpPr>
            <p:grpSpPr>
              <a:xfrm>
                <a:off x="4263390" y="-257447"/>
                <a:ext cx="2773680" cy="2288603"/>
                <a:chOff x="4244340" y="3909060"/>
                <a:chExt cx="2773680" cy="2288603"/>
              </a:xfrm>
            </p:grpSpPr>
            <p:sp>
              <p:nvSpPr>
                <p:cNvPr id="292" name="Freeform 291"/>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93" name="Freeform 292"/>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94" name="Freeform 293"/>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95" name="Freeform 294"/>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32" name="Group 231"/>
              <p:cNvGrpSpPr/>
              <p:nvPr/>
            </p:nvGrpSpPr>
            <p:grpSpPr>
              <a:xfrm>
                <a:off x="2415540" y="2036497"/>
                <a:ext cx="2773680" cy="2524823"/>
                <a:chOff x="4244340" y="3672840"/>
                <a:chExt cx="2773680" cy="2524823"/>
              </a:xfrm>
            </p:grpSpPr>
            <p:sp>
              <p:nvSpPr>
                <p:cNvPr id="288" name="Freeform 287"/>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89" name="Freeform 288"/>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90" name="Freeform 289"/>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91" name="Freeform 290"/>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33" name="Group 232"/>
              <p:cNvGrpSpPr/>
              <p:nvPr/>
            </p:nvGrpSpPr>
            <p:grpSpPr>
              <a:xfrm>
                <a:off x="4263390" y="3103297"/>
                <a:ext cx="2773680" cy="2524823"/>
                <a:chOff x="4244340" y="3672840"/>
                <a:chExt cx="2773680" cy="2524823"/>
              </a:xfrm>
            </p:grpSpPr>
            <p:sp>
              <p:nvSpPr>
                <p:cNvPr id="284" name="Freeform 283"/>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85" name="Freeform 284"/>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86" name="Freeform 285"/>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87" name="Freeform 286"/>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34" name="Group 233"/>
              <p:cNvGrpSpPr/>
              <p:nvPr/>
            </p:nvGrpSpPr>
            <p:grpSpPr>
              <a:xfrm>
                <a:off x="2415540" y="556040"/>
                <a:ext cx="2773680" cy="2524823"/>
                <a:chOff x="4244340" y="3672840"/>
                <a:chExt cx="2773680" cy="2524823"/>
              </a:xfrm>
            </p:grpSpPr>
            <p:sp>
              <p:nvSpPr>
                <p:cNvPr id="280" name="Freeform 279"/>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81" name="Freeform 280"/>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82" name="Freeform 281"/>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83" name="Freeform 282"/>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35" name="Group 234"/>
              <p:cNvGrpSpPr/>
              <p:nvPr/>
            </p:nvGrpSpPr>
            <p:grpSpPr>
              <a:xfrm>
                <a:off x="4263390" y="1622840"/>
                <a:ext cx="2773680" cy="2524823"/>
                <a:chOff x="4244340" y="3672840"/>
                <a:chExt cx="2773680" cy="2524823"/>
              </a:xfrm>
            </p:grpSpPr>
            <p:sp>
              <p:nvSpPr>
                <p:cNvPr id="276" name="Freeform 275"/>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77" name="Freeform 276"/>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78" name="Freeform 277"/>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79" name="Freeform 278"/>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36" name="Group 235"/>
              <p:cNvGrpSpPr/>
              <p:nvPr/>
            </p:nvGrpSpPr>
            <p:grpSpPr>
              <a:xfrm>
                <a:off x="2415540" y="-1055045"/>
                <a:ext cx="2773680" cy="2524823"/>
                <a:chOff x="4244340" y="3672840"/>
                <a:chExt cx="2773680" cy="2524823"/>
              </a:xfrm>
            </p:grpSpPr>
            <p:sp>
              <p:nvSpPr>
                <p:cNvPr id="272" name="Freeform 271"/>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73" name="Freeform 272"/>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74" name="Freeform 273"/>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75" name="Freeform 274"/>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37" name="Group 236"/>
              <p:cNvGrpSpPr/>
              <p:nvPr/>
            </p:nvGrpSpPr>
            <p:grpSpPr>
              <a:xfrm>
                <a:off x="4263390" y="11755"/>
                <a:ext cx="2773680" cy="2524823"/>
                <a:chOff x="4244340" y="3672840"/>
                <a:chExt cx="2773680" cy="2524823"/>
              </a:xfrm>
            </p:grpSpPr>
            <p:sp>
              <p:nvSpPr>
                <p:cNvPr id="268" name="Freeform 267"/>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69" name="Freeform 268"/>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70" name="Freeform 269"/>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71" name="Freeform 270"/>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38" name="Group 237"/>
              <p:cNvGrpSpPr/>
              <p:nvPr/>
            </p:nvGrpSpPr>
            <p:grpSpPr>
              <a:xfrm>
                <a:off x="586740" y="3141397"/>
                <a:ext cx="2773680" cy="2524823"/>
                <a:chOff x="4244340" y="3672840"/>
                <a:chExt cx="2773680" cy="2524823"/>
              </a:xfrm>
            </p:grpSpPr>
            <p:sp>
              <p:nvSpPr>
                <p:cNvPr id="264" name="Freeform 263"/>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65" name="Freeform 264"/>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66" name="Freeform 265"/>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67" name="Freeform 266"/>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39" name="Group 238"/>
              <p:cNvGrpSpPr/>
              <p:nvPr/>
            </p:nvGrpSpPr>
            <p:grpSpPr>
              <a:xfrm>
                <a:off x="2434590" y="4208197"/>
                <a:ext cx="2773680" cy="2524823"/>
                <a:chOff x="4244340" y="3672840"/>
                <a:chExt cx="2773680" cy="2524823"/>
              </a:xfrm>
            </p:grpSpPr>
            <p:sp>
              <p:nvSpPr>
                <p:cNvPr id="260" name="Freeform 259"/>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61" name="Freeform 260"/>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62" name="Freeform 261"/>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63" name="Freeform 262"/>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40" name="Group 239"/>
              <p:cNvGrpSpPr/>
              <p:nvPr/>
            </p:nvGrpSpPr>
            <p:grpSpPr>
              <a:xfrm>
                <a:off x="586740" y="1660940"/>
                <a:ext cx="2773680" cy="2524823"/>
                <a:chOff x="4244340" y="3672840"/>
                <a:chExt cx="2773680" cy="2524823"/>
              </a:xfrm>
            </p:grpSpPr>
            <p:sp>
              <p:nvSpPr>
                <p:cNvPr id="256" name="Freeform 255"/>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57" name="Freeform 256"/>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58" name="Freeform 257"/>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59" name="Freeform 258"/>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41" name="Group 240"/>
              <p:cNvGrpSpPr/>
              <p:nvPr/>
            </p:nvGrpSpPr>
            <p:grpSpPr>
              <a:xfrm>
                <a:off x="2434590" y="2727740"/>
                <a:ext cx="2773680" cy="2524823"/>
                <a:chOff x="4244340" y="3672840"/>
                <a:chExt cx="2773680" cy="2524823"/>
              </a:xfrm>
            </p:grpSpPr>
            <p:sp>
              <p:nvSpPr>
                <p:cNvPr id="252" name="Freeform 251"/>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53" name="Freeform 252"/>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54" name="Freeform 253"/>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55" name="Freeform 254"/>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42" name="Group 241"/>
              <p:cNvGrpSpPr/>
              <p:nvPr/>
            </p:nvGrpSpPr>
            <p:grpSpPr>
              <a:xfrm>
                <a:off x="586740" y="49855"/>
                <a:ext cx="2773680" cy="2524823"/>
                <a:chOff x="4244340" y="3672840"/>
                <a:chExt cx="2773680" cy="2524823"/>
              </a:xfrm>
            </p:grpSpPr>
            <p:sp>
              <p:nvSpPr>
                <p:cNvPr id="248" name="Freeform 247"/>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49" name="Freeform 248"/>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50" name="Freeform 249"/>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51" name="Freeform 250"/>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243" name="Group 242"/>
              <p:cNvGrpSpPr/>
              <p:nvPr/>
            </p:nvGrpSpPr>
            <p:grpSpPr>
              <a:xfrm>
                <a:off x="2434590" y="1116655"/>
                <a:ext cx="2773680" cy="2524823"/>
                <a:chOff x="4244340" y="3672840"/>
                <a:chExt cx="2773680" cy="2524823"/>
              </a:xfrm>
            </p:grpSpPr>
            <p:sp>
              <p:nvSpPr>
                <p:cNvPr id="244" name="Freeform 243"/>
                <p:cNvSpPr/>
                <p:nvPr/>
              </p:nvSpPr>
              <p:spPr bwMode="auto">
                <a:xfrm>
                  <a:off x="4244340" y="3672840"/>
                  <a:ext cx="2773680" cy="148590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502920 h 1257300"/>
                    <a:gd name="connsiteX1" fmla="*/ 914400 w 2773680"/>
                    <a:gd name="connsiteY1" fmla="*/ 7620 h 1257300"/>
                    <a:gd name="connsiteX2" fmla="*/ 1386840 w 2773680"/>
                    <a:gd name="connsiteY2" fmla="*/ 0 h 1257300"/>
                    <a:gd name="connsiteX3" fmla="*/ 1851660 w 2773680"/>
                    <a:gd name="connsiteY3" fmla="*/ 7620 h 1257300"/>
                    <a:gd name="connsiteX4" fmla="*/ 2773680 w 2773680"/>
                    <a:gd name="connsiteY4" fmla="*/ 518160 h 1257300"/>
                    <a:gd name="connsiteX5" fmla="*/ 1386840 w 2773680"/>
                    <a:gd name="connsiteY5" fmla="*/ 1257300 h 1257300"/>
                    <a:gd name="connsiteX6" fmla="*/ 0 w 2773680"/>
                    <a:gd name="connsiteY6" fmla="*/ 502920 h 1257300"/>
                    <a:gd name="connsiteX0" fmla="*/ 0 w 2773680"/>
                    <a:gd name="connsiteY0" fmla="*/ 731520 h 1485900"/>
                    <a:gd name="connsiteX1" fmla="*/ 914400 w 2773680"/>
                    <a:gd name="connsiteY1" fmla="*/ 236220 h 1485900"/>
                    <a:gd name="connsiteX2" fmla="*/ 1386840 w 2773680"/>
                    <a:gd name="connsiteY2" fmla="*/ 0 h 1485900"/>
                    <a:gd name="connsiteX3" fmla="*/ 1851660 w 2773680"/>
                    <a:gd name="connsiteY3" fmla="*/ 236220 h 1485900"/>
                    <a:gd name="connsiteX4" fmla="*/ 2773680 w 2773680"/>
                    <a:gd name="connsiteY4" fmla="*/ 746760 h 1485900"/>
                    <a:gd name="connsiteX5" fmla="*/ 1386840 w 2773680"/>
                    <a:gd name="connsiteY5" fmla="*/ 1485900 h 1485900"/>
                    <a:gd name="connsiteX6" fmla="*/ 0 w 2773680"/>
                    <a:gd name="connsiteY6" fmla="*/ 731520 h 1485900"/>
                    <a:gd name="connsiteX0" fmla="*/ 0 w 2773680"/>
                    <a:gd name="connsiteY0" fmla="*/ 731520 h 1485900"/>
                    <a:gd name="connsiteX1" fmla="*/ 1386840 w 2773680"/>
                    <a:gd name="connsiteY1" fmla="*/ 0 h 1485900"/>
                    <a:gd name="connsiteX2" fmla="*/ 1851660 w 2773680"/>
                    <a:gd name="connsiteY2" fmla="*/ 236220 h 1485900"/>
                    <a:gd name="connsiteX3" fmla="*/ 2773680 w 2773680"/>
                    <a:gd name="connsiteY3" fmla="*/ 746760 h 1485900"/>
                    <a:gd name="connsiteX4" fmla="*/ 1386840 w 2773680"/>
                    <a:gd name="connsiteY4" fmla="*/ 1485900 h 1485900"/>
                    <a:gd name="connsiteX5" fmla="*/ 0 w 2773680"/>
                    <a:gd name="connsiteY5" fmla="*/ 731520 h 1485900"/>
                    <a:gd name="connsiteX0" fmla="*/ 0 w 2773680"/>
                    <a:gd name="connsiteY0" fmla="*/ 731520 h 1485900"/>
                    <a:gd name="connsiteX1" fmla="*/ 1386840 w 2773680"/>
                    <a:gd name="connsiteY1" fmla="*/ 0 h 1485900"/>
                    <a:gd name="connsiteX2" fmla="*/ 2773680 w 2773680"/>
                    <a:gd name="connsiteY2" fmla="*/ 746760 h 1485900"/>
                    <a:gd name="connsiteX3" fmla="*/ 1386840 w 2773680"/>
                    <a:gd name="connsiteY3" fmla="*/ 1485900 h 1485900"/>
                    <a:gd name="connsiteX4" fmla="*/ 0 w 2773680"/>
                    <a:gd name="connsiteY4" fmla="*/ 73152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3680" h="1485900">
                      <a:moveTo>
                        <a:pt x="0" y="731520"/>
                      </a:moveTo>
                      <a:lnTo>
                        <a:pt x="1386840" y="0"/>
                      </a:lnTo>
                      <a:lnTo>
                        <a:pt x="2773680" y="746760"/>
                      </a:lnTo>
                      <a:lnTo>
                        <a:pt x="1386840" y="1485900"/>
                      </a:lnTo>
                      <a:lnTo>
                        <a:pt x="0" y="73152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45" name="Freeform 244"/>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46" name="Freeform 245"/>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47" name="Freeform 246"/>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grpSp>
          <p:nvGrpSpPr>
            <p:cNvPr id="176" name="Group 175"/>
            <p:cNvGrpSpPr/>
            <p:nvPr/>
          </p:nvGrpSpPr>
          <p:grpSpPr>
            <a:xfrm>
              <a:off x="5049148" y="1567835"/>
              <a:ext cx="1616009" cy="1751534"/>
              <a:chOff x="-246743" y="-1531620"/>
              <a:chExt cx="8095343" cy="8774249"/>
            </a:xfrm>
          </p:grpSpPr>
          <p:sp>
            <p:nvSpPr>
              <p:cNvPr id="224" name="Freeform 223"/>
              <p:cNvSpPr/>
              <p:nvPr/>
            </p:nvSpPr>
            <p:spPr bwMode="auto">
              <a:xfrm>
                <a:off x="-246743" y="783771"/>
                <a:ext cx="4049486" cy="6458858"/>
              </a:xfrm>
              <a:custGeom>
                <a:avLst/>
                <a:gdLst>
                  <a:gd name="connsiteX0" fmla="*/ 0 w 4049486"/>
                  <a:gd name="connsiteY0" fmla="*/ 4136572 h 6458858"/>
                  <a:gd name="connsiteX1" fmla="*/ 4049486 w 4049486"/>
                  <a:gd name="connsiteY1" fmla="*/ 6458858 h 6458858"/>
                  <a:gd name="connsiteX2" fmla="*/ 4049486 w 4049486"/>
                  <a:gd name="connsiteY2" fmla="*/ 2830286 h 6458858"/>
                  <a:gd name="connsiteX3" fmla="*/ 3178629 w 4049486"/>
                  <a:gd name="connsiteY3" fmla="*/ 1306286 h 6458858"/>
                  <a:gd name="connsiteX4" fmla="*/ 914400 w 4049486"/>
                  <a:gd name="connsiteY4" fmla="*/ 0 h 6458858"/>
                  <a:gd name="connsiteX5" fmla="*/ 14514 w 4049486"/>
                  <a:gd name="connsiteY5" fmla="*/ 464458 h 6458858"/>
                  <a:gd name="connsiteX6" fmla="*/ 0 w 4049486"/>
                  <a:gd name="connsiteY6" fmla="*/ 4136572 h 6458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9486" h="6458858">
                    <a:moveTo>
                      <a:pt x="0" y="4136572"/>
                    </a:moveTo>
                    <a:lnTo>
                      <a:pt x="4049486" y="6458858"/>
                    </a:lnTo>
                    <a:lnTo>
                      <a:pt x="4049486" y="2830286"/>
                    </a:lnTo>
                    <a:lnTo>
                      <a:pt x="3178629" y="1306286"/>
                    </a:lnTo>
                    <a:lnTo>
                      <a:pt x="914400" y="0"/>
                    </a:lnTo>
                    <a:lnTo>
                      <a:pt x="14514" y="464458"/>
                    </a:lnTo>
                    <a:lnTo>
                      <a:pt x="0" y="4136572"/>
                    </a:lnTo>
                    <a:close/>
                  </a:path>
                </a:pathLst>
              </a:custGeom>
              <a:solidFill>
                <a:schemeClr val="accent1">
                  <a:lumMod val="60000"/>
                  <a:lumOff val="40000"/>
                  <a:alpha val="45000"/>
                </a:schemeClr>
              </a:solidFill>
              <a:ln>
                <a:solidFill>
                  <a:schemeClr val="accent1">
                    <a:lumMod val="75000"/>
                    <a:alpha val="4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25" name="Freeform 224"/>
              <p:cNvSpPr/>
              <p:nvPr/>
            </p:nvSpPr>
            <p:spPr bwMode="auto">
              <a:xfrm>
                <a:off x="2926080" y="2080260"/>
                <a:ext cx="1790700" cy="1550670"/>
              </a:xfrm>
              <a:custGeom>
                <a:avLst/>
                <a:gdLst>
                  <a:gd name="connsiteX0" fmla="*/ 0 w 1790700"/>
                  <a:gd name="connsiteY0" fmla="*/ 0 h 1531620"/>
                  <a:gd name="connsiteX1" fmla="*/ 1790700 w 1790700"/>
                  <a:gd name="connsiteY1" fmla="*/ 0 h 1531620"/>
                  <a:gd name="connsiteX2" fmla="*/ 883920 w 1790700"/>
                  <a:gd name="connsiteY2" fmla="*/ 1531620 h 1531620"/>
                  <a:gd name="connsiteX3" fmla="*/ 0 w 1790700"/>
                  <a:gd name="connsiteY3" fmla="*/ 0 h 1531620"/>
                  <a:gd name="connsiteX0" fmla="*/ 0 w 1790700"/>
                  <a:gd name="connsiteY0" fmla="*/ 0 h 1550670"/>
                  <a:gd name="connsiteX1" fmla="*/ 1790700 w 1790700"/>
                  <a:gd name="connsiteY1" fmla="*/ 0 h 1550670"/>
                  <a:gd name="connsiteX2" fmla="*/ 883920 w 1790700"/>
                  <a:gd name="connsiteY2" fmla="*/ 1550670 h 1550670"/>
                  <a:gd name="connsiteX3" fmla="*/ 0 w 1790700"/>
                  <a:gd name="connsiteY3" fmla="*/ 0 h 1550670"/>
                </a:gdLst>
                <a:ahLst/>
                <a:cxnLst>
                  <a:cxn ang="0">
                    <a:pos x="connsiteX0" y="connsiteY0"/>
                  </a:cxn>
                  <a:cxn ang="0">
                    <a:pos x="connsiteX1" y="connsiteY1"/>
                  </a:cxn>
                  <a:cxn ang="0">
                    <a:pos x="connsiteX2" y="connsiteY2"/>
                  </a:cxn>
                  <a:cxn ang="0">
                    <a:pos x="connsiteX3" y="connsiteY3"/>
                  </a:cxn>
                </a:cxnLst>
                <a:rect l="l" t="t" r="r" b="b"/>
                <a:pathLst>
                  <a:path w="1790700" h="1550670">
                    <a:moveTo>
                      <a:pt x="0" y="0"/>
                    </a:moveTo>
                    <a:lnTo>
                      <a:pt x="1790700" y="0"/>
                    </a:lnTo>
                    <a:lnTo>
                      <a:pt x="883920" y="1550670"/>
                    </a:lnTo>
                    <a:lnTo>
                      <a:pt x="0" y="0"/>
                    </a:lnTo>
                    <a:close/>
                  </a:path>
                </a:pathLst>
              </a:custGeom>
              <a:solidFill>
                <a:schemeClr val="accent1">
                  <a:lumMod val="20000"/>
                  <a:lumOff val="80000"/>
                  <a:alpha val="50000"/>
                </a:schemeClr>
              </a:solidFill>
              <a:ln>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26" name="Freeform 225"/>
              <p:cNvSpPr/>
              <p:nvPr/>
            </p:nvSpPr>
            <p:spPr bwMode="auto">
              <a:xfrm>
                <a:off x="-228600" y="-254000"/>
                <a:ext cx="933450" cy="1498600"/>
              </a:xfrm>
              <a:custGeom>
                <a:avLst/>
                <a:gdLst>
                  <a:gd name="connsiteX0" fmla="*/ 895350 w 933450"/>
                  <a:gd name="connsiteY0" fmla="*/ 1028700 h 1498600"/>
                  <a:gd name="connsiteX1" fmla="*/ 0 w 933450"/>
                  <a:gd name="connsiteY1" fmla="*/ 1498600 h 1498600"/>
                  <a:gd name="connsiteX2" fmla="*/ 933450 w 933450"/>
                  <a:gd name="connsiteY2" fmla="*/ 0 h 1498600"/>
                  <a:gd name="connsiteX3" fmla="*/ 895350 w 933450"/>
                  <a:gd name="connsiteY3" fmla="*/ 1028700 h 1498600"/>
                  <a:gd name="connsiteX0" fmla="*/ 895350 w 933450"/>
                  <a:gd name="connsiteY0" fmla="*/ 1035050 h 1498600"/>
                  <a:gd name="connsiteX1" fmla="*/ 0 w 933450"/>
                  <a:gd name="connsiteY1" fmla="*/ 1498600 h 1498600"/>
                  <a:gd name="connsiteX2" fmla="*/ 933450 w 933450"/>
                  <a:gd name="connsiteY2" fmla="*/ 0 h 1498600"/>
                  <a:gd name="connsiteX3" fmla="*/ 895350 w 933450"/>
                  <a:gd name="connsiteY3" fmla="*/ 1035050 h 1498600"/>
                </a:gdLst>
                <a:ahLst/>
                <a:cxnLst>
                  <a:cxn ang="0">
                    <a:pos x="connsiteX0" y="connsiteY0"/>
                  </a:cxn>
                  <a:cxn ang="0">
                    <a:pos x="connsiteX1" y="connsiteY1"/>
                  </a:cxn>
                  <a:cxn ang="0">
                    <a:pos x="connsiteX2" y="connsiteY2"/>
                  </a:cxn>
                  <a:cxn ang="0">
                    <a:pos x="connsiteX3" y="connsiteY3"/>
                  </a:cxn>
                </a:cxnLst>
                <a:rect l="l" t="t" r="r" b="b"/>
                <a:pathLst>
                  <a:path w="933450" h="1498600">
                    <a:moveTo>
                      <a:pt x="895350" y="1035050"/>
                    </a:moveTo>
                    <a:lnTo>
                      <a:pt x="0" y="1498600"/>
                    </a:lnTo>
                    <a:lnTo>
                      <a:pt x="933450" y="0"/>
                    </a:lnTo>
                    <a:lnTo>
                      <a:pt x="895350" y="1035050"/>
                    </a:lnTo>
                    <a:close/>
                  </a:path>
                </a:pathLst>
              </a:custGeom>
              <a:solidFill>
                <a:schemeClr val="accent1">
                  <a:lumMod val="20000"/>
                  <a:lumOff val="80000"/>
                  <a:alpha val="50000"/>
                </a:schemeClr>
              </a:solidFill>
              <a:ln>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27" name="Freeform 226"/>
              <p:cNvSpPr/>
              <p:nvPr/>
            </p:nvSpPr>
            <p:spPr bwMode="auto">
              <a:xfrm>
                <a:off x="655320" y="-1531620"/>
                <a:ext cx="6324600" cy="3619500"/>
              </a:xfrm>
              <a:custGeom>
                <a:avLst/>
                <a:gdLst>
                  <a:gd name="connsiteX0" fmla="*/ 45720 w 6324600"/>
                  <a:gd name="connsiteY0" fmla="*/ 1287780 h 3619500"/>
                  <a:gd name="connsiteX1" fmla="*/ 2278380 w 6324600"/>
                  <a:gd name="connsiteY1" fmla="*/ 0 h 3619500"/>
                  <a:gd name="connsiteX2" fmla="*/ 4084320 w 6324600"/>
                  <a:gd name="connsiteY2" fmla="*/ 0 h 3619500"/>
                  <a:gd name="connsiteX3" fmla="*/ 6324600 w 6324600"/>
                  <a:gd name="connsiteY3" fmla="*/ 1310640 h 3619500"/>
                  <a:gd name="connsiteX4" fmla="*/ 6324600 w 6324600"/>
                  <a:gd name="connsiteY4" fmla="*/ 2301240 h 3619500"/>
                  <a:gd name="connsiteX5" fmla="*/ 4069080 w 6324600"/>
                  <a:gd name="connsiteY5" fmla="*/ 3619500 h 3619500"/>
                  <a:gd name="connsiteX6" fmla="*/ 2263140 w 6324600"/>
                  <a:gd name="connsiteY6" fmla="*/ 3611880 h 3619500"/>
                  <a:gd name="connsiteX7" fmla="*/ 0 w 6324600"/>
                  <a:gd name="connsiteY7" fmla="*/ 2316480 h 3619500"/>
                  <a:gd name="connsiteX8" fmla="*/ 45720 w 6324600"/>
                  <a:gd name="connsiteY8" fmla="*/ 1287780 h 3619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24600" h="3619500">
                    <a:moveTo>
                      <a:pt x="45720" y="1287780"/>
                    </a:moveTo>
                    <a:lnTo>
                      <a:pt x="2278380" y="0"/>
                    </a:lnTo>
                    <a:lnTo>
                      <a:pt x="4084320" y="0"/>
                    </a:lnTo>
                    <a:lnTo>
                      <a:pt x="6324600" y="1310640"/>
                    </a:lnTo>
                    <a:lnTo>
                      <a:pt x="6324600" y="2301240"/>
                    </a:lnTo>
                    <a:lnTo>
                      <a:pt x="4069080" y="3619500"/>
                    </a:lnTo>
                    <a:lnTo>
                      <a:pt x="2263140" y="3611880"/>
                    </a:lnTo>
                    <a:lnTo>
                      <a:pt x="0" y="2316480"/>
                    </a:lnTo>
                    <a:lnTo>
                      <a:pt x="45720" y="1287780"/>
                    </a:lnTo>
                    <a:close/>
                  </a:path>
                </a:pathLst>
              </a:custGeom>
              <a:solidFill>
                <a:schemeClr val="accent1">
                  <a:lumMod val="20000"/>
                  <a:lumOff val="80000"/>
                  <a:alpha val="50000"/>
                </a:schemeClr>
              </a:solidFill>
              <a:ln>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28" name="Freeform 227"/>
              <p:cNvSpPr/>
              <p:nvPr/>
            </p:nvSpPr>
            <p:spPr bwMode="auto">
              <a:xfrm>
                <a:off x="3800475" y="781050"/>
                <a:ext cx="4048125" cy="6448425"/>
              </a:xfrm>
              <a:custGeom>
                <a:avLst/>
                <a:gdLst>
                  <a:gd name="connsiteX0" fmla="*/ 0 w 4048125"/>
                  <a:gd name="connsiteY0" fmla="*/ 6448425 h 6448425"/>
                  <a:gd name="connsiteX1" fmla="*/ 0 w 4048125"/>
                  <a:gd name="connsiteY1" fmla="*/ 2838450 h 6448425"/>
                  <a:gd name="connsiteX2" fmla="*/ 914400 w 4048125"/>
                  <a:gd name="connsiteY2" fmla="*/ 1285875 h 6448425"/>
                  <a:gd name="connsiteX3" fmla="*/ 3152775 w 4048125"/>
                  <a:gd name="connsiteY3" fmla="*/ 0 h 6448425"/>
                  <a:gd name="connsiteX4" fmla="*/ 4048125 w 4048125"/>
                  <a:gd name="connsiteY4" fmla="*/ 504825 h 6448425"/>
                  <a:gd name="connsiteX5" fmla="*/ 4048125 w 4048125"/>
                  <a:gd name="connsiteY5" fmla="*/ 4114800 h 6448425"/>
                  <a:gd name="connsiteX6" fmla="*/ 0 w 4048125"/>
                  <a:gd name="connsiteY6" fmla="*/ 6448425 h 644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8125" h="6448425">
                    <a:moveTo>
                      <a:pt x="0" y="6448425"/>
                    </a:moveTo>
                    <a:lnTo>
                      <a:pt x="0" y="2838450"/>
                    </a:lnTo>
                    <a:lnTo>
                      <a:pt x="914400" y="1285875"/>
                    </a:lnTo>
                    <a:lnTo>
                      <a:pt x="3152775" y="0"/>
                    </a:lnTo>
                    <a:lnTo>
                      <a:pt x="4048125" y="504825"/>
                    </a:lnTo>
                    <a:lnTo>
                      <a:pt x="4048125" y="4114800"/>
                    </a:lnTo>
                    <a:lnTo>
                      <a:pt x="0" y="6448425"/>
                    </a:lnTo>
                    <a:close/>
                  </a:path>
                </a:pathLst>
              </a:custGeom>
              <a:solidFill>
                <a:schemeClr val="accent1">
                  <a:alpha val="45000"/>
                </a:schemeClr>
              </a:solidFill>
              <a:ln>
                <a:solidFill>
                  <a:schemeClr val="accent1">
                    <a:lumMod val="75000"/>
                    <a:alpha val="4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29" name="Freeform 228"/>
              <p:cNvSpPr/>
              <p:nvPr/>
            </p:nvSpPr>
            <p:spPr bwMode="auto">
              <a:xfrm>
                <a:off x="6962775" y="-228600"/>
                <a:ext cx="876300" cy="1514475"/>
              </a:xfrm>
              <a:custGeom>
                <a:avLst/>
                <a:gdLst>
                  <a:gd name="connsiteX0" fmla="*/ 19050 w 876300"/>
                  <a:gd name="connsiteY0" fmla="*/ 0 h 1504950"/>
                  <a:gd name="connsiteX1" fmla="*/ 876300 w 876300"/>
                  <a:gd name="connsiteY1" fmla="*/ 1504950 h 1504950"/>
                  <a:gd name="connsiteX2" fmla="*/ 0 w 876300"/>
                  <a:gd name="connsiteY2" fmla="*/ 1028700 h 1504950"/>
                  <a:gd name="connsiteX3" fmla="*/ 19050 w 876300"/>
                  <a:gd name="connsiteY3" fmla="*/ 0 h 1504950"/>
                  <a:gd name="connsiteX0" fmla="*/ 19050 w 876300"/>
                  <a:gd name="connsiteY0" fmla="*/ 0 h 1514475"/>
                  <a:gd name="connsiteX1" fmla="*/ 876300 w 876300"/>
                  <a:gd name="connsiteY1" fmla="*/ 1514475 h 1514475"/>
                  <a:gd name="connsiteX2" fmla="*/ 0 w 876300"/>
                  <a:gd name="connsiteY2" fmla="*/ 1028700 h 1514475"/>
                  <a:gd name="connsiteX3" fmla="*/ 19050 w 876300"/>
                  <a:gd name="connsiteY3" fmla="*/ 0 h 1514475"/>
                </a:gdLst>
                <a:ahLst/>
                <a:cxnLst>
                  <a:cxn ang="0">
                    <a:pos x="connsiteX0" y="connsiteY0"/>
                  </a:cxn>
                  <a:cxn ang="0">
                    <a:pos x="connsiteX1" y="connsiteY1"/>
                  </a:cxn>
                  <a:cxn ang="0">
                    <a:pos x="connsiteX2" y="connsiteY2"/>
                  </a:cxn>
                  <a:cxn ang="0">
                    <a:pos x="connsiteX3" y="connsiteY3"/>
                  </a:cxn>
                </a:cxnLst>
                <a:rect l="l" t="t" r="r" b="b"/>
                <a:pathLst>
                  <a:path w="876300" h="1514475">
                    <a:moveTo>
                      <a:pt x="19050" y="0"/>
                    </a:moveTo>
                    <a:lnTo>
                      <a:pt x="876300" y="1514475"/>
                    </a:lnTo>
                    <a:lnTo>
                      <a:pt x="0" y="1028700"/>
                    </a:lnTo>
                    <a:lnTo>
                      <a:pt x="19050" y="0"/>
                    </a:lnTo>
                    <a:close/>
                  </a:path>
                </a:pathLst>
              </a:custGeom>
              <a:solidFill>
                <a:schemeClr val="accent1">
                  <a:lumMod val="20000"/>
                  <a:lumOff val="80000"/>
                  <a:alpha val="50000"/>
                </a:schemeClr>
              </a:solidFill>
              <a:ln>
                <a:solidFill>
                  <a:schemeClr val="accent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177" name="Group 176"/>
            <p:cNvGrpSpPr/>
            <p:nvPr/>
          </p:nvGrpSpPr>
          <p:grpSpPr>
            <a:xfrm>
              <a:off x="5945668" y="2248102"/>
              <a:ext cx="1261009" cy="1189710"/>
              <a:chOff x="4244340" y="1876153"/>
              <a:chExt cx="6316980" cy="5959810"/>
            </a:xfrm>
          </p:grpSpPr>
          <p:grpSp>
            <p:nvGrpSpPr>
              <p:cNvPr id="194" name="Group 193"/>
              <p:cNvGrpSpPr/>
              <p:nvPr/>
            </p:nvGrpSpPr>
            <p:grpSpPr>
              <a:xfrm>
                <a:off x="7787640" y="3356610"/>
                <a:ext cx="2773680" cy="2288603"/>
                <a:chOff x="4244340" y="3909060"/>
                <a:chExt cx="2773680" cy="2288603"/>
              </a:xfrm>
            </p:grpSpPr>
            <p:sp>
              <p:nvSpPr>
                <p:cNvPr id="220" name="Freeform 219"/>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21" name="Freeform 220"/>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22" name="Freeform 221"/>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23" name="Freeform 222"/>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195" name="Group 194"/>
              <p:cNvGrpSpPr/>
              <p:nvPr/>
            </p:nvGrpSpPr>
            <p:grpSpPr>
              <a:xfrm>
                <a:off x="7787640" y="1876153"/>
                <a:ext cx="2773680" cy="2288603"/>
                <a:chOff x="4244340" y="3909060"/>
                <a:chExt cx="2773680" cy="2288603"/>
              </a:xfrm>
            </p:grpSpPr>
            <p:sp>
              <p:nvSpPr>
                <p:cNvPr id="216" name="Freeform 215"/>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17" name="Freeform 216"/>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18" name="Freeform 217"/>
                <p:cNvSpPr/>
                <p:nvPr/>
              </p:nvSpPr>
              <p:spPr bwMode="auto">
                <a:xfrm flipH="1">
                  <a:off x="5631182" y="4399799"/>
                  <a:ext cx="1385889" cy="1797864"/>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19" name="Freeform 218"/>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196" name="Group 195"/>
              <p:cNvGrpSpPr/>
              <p:nvPr/>
            </p:nvGrpSpPr>
            <p:grpSpPr>
              <a:xfrm>
                <a:off x="5996940" y="4423410"/>
                <a:ext cx="2773680" cy="2288603"/>
                <a:chOff x="4244340" y="3909060"/>
                <a:chExt cx="2773680" cy="2288603"/>
              </a:xfrm>
            </p:grpSpPr>
            <p:sp>
              <p:nvSpPr>
                <p:cNvPr id="212" name="Freeform 211"/>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13" name="Freeform 212"/>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14" name="Freeform 213"/>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15" name="Freeform 214"/>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197" name="Group 196"/>
              <p:cNvGrpSpPr/>
              <p:nvPr/>
            </p:nvGrpSpPr>
            <p:grpSpPr>
              <a:xfrm>
                <a:off x="5996940" y="2942953"/>
                <a:ext cx="2773680" cy="2288603"/>
                <a:chOff x="4244340" y="3909060"/>
                <a:chExt cx="2773680" cy="2288603"/>
              </a:xfrm>
            </p:grpSpPr>
            <p:sp>
              <p:nvSpPr>
                <p:cNvPr id="208" name="Freeform 207"/>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09" name="Freeform 208"/>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10" name="Freeform 209"/>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11" name="Freeform 210"/>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198" name="Group 197"/>
              <p:cNvGrpSpPr/>
              <p:nvPr/>
            </p:nvGrpSpPr>
            <p:grpSpPr>
              <a:xfrm>
                <a:off x="4244340" y="5547360"/>
                <a:ext cx="2773680" cy="2288603"/>
                <a:chOff x="4244340" y="3909060"/>
                <a:chExt cx="2773680" cy="2288603"/>
              </a:xfrm>
            </p:grpSpPr>
            <p:sp>
              <p:nvSpPr>
                <p:cNvPr id="204" name="Freeform 203"/>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05" name="Freeform 204"/>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06" name="Freeform 205"/>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07" name="Freeform 206"/>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nvGrpSpPr>
              <p:cNvPr id="199" name="Group 198"/>
              <p:cNvGrpSpPr/>
              <p:nvPr/>
            </p:nvGrpSpPr>
            <p:grpSpPr>
              <a:xfrm>
                <a:off x="4244340" y="4066903"/>
                <a:ext cx="2773680" cy="2288603"/>
                <a:chOff x="4244340" y="3909060"/>
                <a:chExt cx="2773680" cy="2288603"/>
              </a:xfrm>
            </p:grpSpPr>
            <p:sp>
              <p:nvSpPr>
                <p:cNvPr id="200" name="Freeform 199"/>
                <p:cNvSpPr/>
                <p:nvPr/>
              </p:nvSpPr>
              <p:spPr bwMode="auto">
                <a:xfrm>
                  <a:off x="4244340" y="3909060"/>
                  <a:ext cx="2773680" cy="1249680"/>
                </a:xfrm>
                <a:custGeom>
                  <a:avLst/>
                  <a:gdLst>
                    <a:gd name="connsiteX0" fmla="*/ 0 w 2773680"/>
                    <a:gd name="connsiteY0" fmla="*/ 495300 h 1249680"/>
                    <a:gd name="connsiteX1" fmla="*/ 914400 w 2773680"/>
                    <a:gd name="connsiteY1" fmla="*/ 0 h 1249680"/>
                    <a:gd name="connsiteX2" fmla="*/ 1851660 w 2773680"/>
                    <a:gd name="connsiteY2" fmla="*/ 0 h 1249680"/>
                    <a:gd name="connsiteX3" fmla="*/ 2773680 w 2773680"/>
                    <a:gd name="connsiteY3" fmla="*/ 510540 h 1249680"/>
                    <a:gd name="connsiteX4" fmla="*/ 1386840 w 2773680"/>
                    <a:gd name="connsiteY4" fmla="*/ 1249680 h 1249680"/>
                    <a:gd name="connsiteX5" fmla="*/ 0 w 2773680"/>
                    <a:gd name="connsiteY5" fmla="*/ 495300 h 12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3680" h="1249680">
                      <a:moveTo>
                        <a:pt x="0" y="495300"/>
                      </a:moveTo>
                      <a:lnTo>
                        <a:pt x="914400" y="0"/>
                      </a:lnTo>
                      <a:lnTo>
                        <a:pt x="1851660" y="0"/>
                      </a:lnTo>
                      <a:lnTo>
                        <a:pt x="2773680" y="510540"/>
                      </a:lnTo>
                      <a:lnTo>
                        <a:pt x="1386840" y="1249680"/>
                      </a:lnTo>
                      <a:lnTo>
                        <a:pt x="0" y="495300"/>
                      </a:lnTo>
                      <a:close/>
                    </a:path>
                  </a:pathLst>
                </a:custGeom>
                <a:solidFill>
                  <a:schemeClr val="accent1">
                    <a:lumMod val="20000"/>
                    <a:lumOff val="8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01" name="Freeform 200"/>
                <p:cNvSpPr/>
                <p:nvPr/>
              </p:nvSpPr>
              <p:spPr bwMode="auto">
                <a:xfrm>
                  <a:off x="4248150"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40000"/>
                    <a:lumOff val="6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02" name="Freeform 201"/>
                <p:cNvSpPr/>
                <p:nvPr/>
              </p:nvSpPr>
              <p:spPr bwMode="auto">
                <a:xfrm flipH="1">
                  <a:off x="5631179" y="4399797"/>
                  <a:ext cx="1385888" cy="1797866"/>
                </a:xfrm>
                <a:custGeom>
                  <a:avLst/>
                  <a:gdLst>
                    <a:gd name="connsiteX0" fmla="*/ 9525 w 723900"/>
                    <a:gd name="connsiteY0" fmla="*/ 0 h 933450"/>
                    <a:gd name="connsiteX1" fmla="*/ 723900 w 723900"/>
                    <a:gd name="connsiteY1" fmla="*/ 381000 h 933450"/>
                    <a:gd name="connsiteX2" fmla="*/ 723900 w 723900"/>
                    <a:gd name="connsiteY2" fmla="*/ 933450 h 933450"/>
                    <a:gd name="connsiteX3" fmla="*/ 0 w 723900"/>
                    <a:gd name="connsiteY3" fmla="*/ 571500 h 933450"/>
                    <a:gd name="connsiteX4" fmla="*/ 9525 w 723900"/>
                    <a:gd name="connsiteY4" fmla="*/ 0 h 933450"/>
                    <a:gd name="connsiteX0" fmla="*/ 0 w 737971"/>
                    <a:gd name="connsiteY0" fmla="*/ 0 h 799739"/>
                    <a:gd name="connsiteX1" fmla="*/ 737971 w 737971"/>
                    <a:gd name="connsiteY1" fmla="*/ 247289 h 799739"/>
                    <a:gd name="connsiteX2" fmla="*/ 737971 w 737971"/>
                    <a:gd name="connsiteY2" fmla="*/ 799739 h 799739"/>
                    <a:gd name="connsiteX3" fmla="*/ 14071 w 737971"/>
                    <a:gd name="connsiteY3" fmla="*/ 437789 h 799739"/>
                    <a:gd name="connsiteX4" fmla="*/ 0 w 737971"/>
                    <a:gd name="connsiteY4" fmla="*/ 0 h 799739"/>
                    <a:gd name="connsiteX0" fmla="*/ 13458 w 723900"/>
                    <a:gd name="connsiteY0" fmla="*/ 0 h 929518"/>
                    <a:gd name="connsiteX1" fmla="*/ 723900 w 723900"/>
                    <a:gd name="connsiteY1" fmla="*/ 377068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412462 h 929518"/>
                    <a:gd name="connsiteX2" fmla="*/ 723900 w 723900"/>
                    <a:gd name="connsiteY2" fmla="*/ 929518 h 929518"/>
                    <a:gd name="connsiteX3" fmla="*/ 0 w 723900"/>
                    <a:gd name="connsiteY3" fmla="*/ 567568 h 929518"/>
                    <a:gd name="connsiteX4" fmla="*/ 13458 w 723900"/>
                    <a:gd name="connsiteY4" fmla="*/ 0 h 929518"/>
                    <a:gd name="connsiteX0" fmla="*/ 13458 w 723900"/>
                    <a:gd name="connsiteY0" fmla="*/ 0 h 929518"/>
                    <a:gd name="connsiteX1" fmla="*/ 719967 w 723900"/>
                    <a:gd name="connsiteY1" fmla="*/ 388866 h 929518"/>
                    <a:gd name="connsiteX2" fmla="*/ 723900 w 723900"/>
                    <a:gd name="connsiteY2" fmla="*/ 929518 h 929518"/>
                    <a:gd name="connsiteX3" fmla="*/ 0 w 723900"/>
                    <a:gd name="connsiteY3" fmla="*/ 567568 h 929518"/>
                    <a:gd name="connsiteX4" fmla="*/ 13458 w 723900"/>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67568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47905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6206 w 710442"/>
                    <a:gd name="connsiteY3" fmla="*/ 524309 h 929518"/>
                    <a:gd name="connsiteX4" fmla="*/ 0 w 710442"/>
                    <a:gd name="connsiteY4" fmla="*/ 0 h 929518"/>
                    <a:gd name="connsiteX0" fmla="*/ 0 w 710442"/>
                    <a:gd name="connsiteY0" fmla="*/ 0 h 929518"/>
                    <a:gd name="connsiteX1" fmla="*/ 706509 w 710442"/>
                    <a:gd name="connsiteY1" fmla="*/ 388866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2273 w 710442"/>
                    <a:gd name="connsiteY3" fmla="*/ 520377 h 929518"/>
                    <a:gd name="connsiteX4" fmla="*/ 0 w 710442"/>
                    <a:gd name="connsiteY4" fmla="*/ 0 h 929518"/>
                    <a:gd name="connsiteX0" fmla="*/ 0 w 710442"/>
                    <a:gd name="connsiteY0" fmla="*/ 0 h 929518"/>
                    <a:gd name="connsiteX1" fmla="*/ 706509 w 710442"/>
                    <a:gd name="connsiteY1" fmla="*/ 384933 h 929518"/>
                    <a:gd name="connsiteX2" fmla="*/ 710442 w 710442"/>
                    <a:gd name="connsiteY2" fmla="*/ 929518 h 929518"/>
                    <a:gd name="connsiteX3" fmla="*/ 634 w 710442"/>
                    <a:gd name="connsiteY3" fmla="*/ 518738 h 929518"/>
                    <a:gd name="connsiteX4" fmla="*/ 0 w 710442"/>
                    <a:gd name="connsiteY4" fmla="*/ 0 h 929518"/>
                    <a:gd name="connsiteX0" fmla="*/ 0 w 707165"/>
                    <a:gd name="connsiteY0" fmla="*/ 0 h 927879"/>
                    <a:gd name="connsiteX1" fmla="*/ 706509 w 707165"/>
                    <a:gd name="connsiteY1" fmla="*/ 384933 h 927879"/>
                    <a:gd name="connsiteX2" fmla="*/ 707165 w 707165"/>
                    <a:gd name="connsiteY2" fmla="*/ 927879 h 927879"/>
                    <a:gd name="connsiteX3" fmla="*/ 634 w 707165"/>
                    <a:gd name="connsiteY3" fmla="*/ 518738 h 927879"/>
                    <a:gd name="connsiteX4" fmla="*/ 0 w 707165"/>
                    <a:gd name="connsiteY4" fmla="*/ 0 h 92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165" h="927879">
                      <a:moveTo>
                        <a:pt x="0" y="0"/>
                      </a:moveTo>
                      <a:lnTo>
                        <a:pt x="706509" y="384933"/>
                      </a:lnTo>
                      <a:cubicBezTo>
                        <a:pt x="706728" y="565915"/>
                        <a:pt x="706946" y="746897"/>
                        <a:pt x="707165" y="927879"/>
                      </a:cubicBezTo>
                      <a:lnTo>
                        <a:pt x="634" y="518738"/>
                      </a:lnTo>
                      <a:cubicBezTo>
                        <a:pt x="-503" y="258549"/>
                        <a:pt x="1136" y="260188"/>
                        <a:pt x="0" y="0"/>
                      </a:cubicBezTo>
                      <a:close/>
                    </a:path>
                  </a:pathLst>
                </a:custGeom>
                <a:solidFill>
                  <a:schemeClr val="accent1">
                    <a:lumMod val="60000"/>
                    <a:lumOff val="40000"/>
                  </a:schemeClr>
                </a:solidFill>
                <a:ln>
                  <a:solidFill>
                    <a:schemeClr val="accent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203" name="Freeform 202"/>
                <p:cNvSpPr/>
                <p:nvPr/>
              </p:nvSpPr>
              <p:spPr bwMode="auto">
                <a:xfrm>
                  <a:off x="5099645" y="4399787"/>
                  <a:ext cx="977306" cy="551284"/>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508" h="538990">
                      <a:moveTo>
                        <a:pt x="23537" y="222138"/>
                      </a:moveTo>
                      <a:lnTo>
                        <a:pt x="410887" y="18938"/>
                      </a:lnTo>
                      <a:cubicBezTo>
                        <a:pt x="447425" y="-2645"/>
                        <a:pt x="500933" y="-7155"/>
                        <a:pt x="544237" y="12588"/>
                      </a:cubicBezTo>
                      <a:lnTo>
                        <a:pt x="893487" y="190388"/>
                      </a:lnTo>
                      <a:cubicBezTo>
                        <a:pt x="976037" y="232721"/>
                        <a:pt x="969687" y="294105"/>
                        <a:pt x="912537" y="336438"/>
                      </a:cubicBezTo>
                      <a:lnTo>
                        <a:pt x="614087" y="495188"/>
                      </a:lnTo>
                      <a:cubicBezTo>
                        <a:pt x="540420" y="533565"/>
                        <a:pt x="510370" y="553309"/>
                        <a:pt x="448987" y="526938"/>
                      </a:cubicBezTo>
                      <a:lnTo>
                        <a:pt x="38732" y="307914"/>
                      </a:lnTo>
                      <a:cubicBezTo>
                        <a:pt x="-11514" y="281959"/>
                        <a:pt x="-8768" y="239765"/>
                        <a:pt x="23537" y="222138"/>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grpSp>
          <p:nvGrpSpPr>
            <p:cNvPr id="178" name="lines"/>
            <p:cNvGrpSpPr/>
            <p:nvPr/>
          </p:nvGrpSpPr>
          <p:grpSpPr>
            <a:xfrm>
              <a:off x="5680775" y="1354951"/>
              <a:ext cx="1706552" cy="2178824"/>
              <a:chOff x="2917371" y="-2598057"/>
              <a:chExt cx="8548915" cy="10914743"/>
            </a:xfrm>
          </p:grpSpPr>
          <p:sp>
            <p:nvSpPr>
              <p:cNvPr id="186" name="Freeform 185"/>
              <p:cNvSpPr/>
              <p:nvPr/>
            </p:nvSpPr>
            <p:spPr bwMode="auto">
              <a:xfrm>
                <a:off x="2917371" y="-2583543"/>
                <a:ext cx="2685143" cy="1567543"/>
              </a:xfrm>
              <a:custGeom>
                <a:avLst/>
                <a:gdLst>
                  <a:gd name="connsiteX0" fmla="*/ 0 w 2685143"/>
                  <a:gd name="connsiteY0" fmla="*/ 1016000 h 1567543"/>
                  <a:gd name="connsiteX1" fmla="*/ 1814286 w 2685143"/>
                  <a:gd name="connsiteY1" fmla="*/ 0 h 1567543"/>
                  <a:gd name="connsiteX2" fmla="*/ 2685143 w 2685143"/>
                  <a:gd name="connsiteY2" fmla="*/ 522514 h 1567543"/>
                  <a:gd name="connsiteX3" fmla="*/ 2685143 w 2685143"/>
                  <a:gd name="connsiteY3" fmla="*/ 1567543 h 1567543"/>
                </a:gdLst>
                <a:ahLst/>
                <a:cxnLst>
                  <a:cxn ang="0">
                    <a:pos x="connsiteX0" y="connsiteY0"/>
                  </a:cxn>
                  <a:cxn ang="0">
                    <a:pos x="connsiteX1" y="connsiteY1"/>
                  </a:cxn>
                  <a:cxn ang="0">
                    <a:pos x="connsiteX2" y="connsiteY2"/>
                  </a:cxn>
                  <a:cxn ang="0">
                    <a:pos x="connsiteX3" y="connsiteY3"/>
                  </a:cxn>
                </a:cxnLst>
                <a:rect l="l" t="t" r="r" b="b"/>
                <a:pathLst>
                  <a:path w="2685143" h="1567543">
                    <a:moveTo>
                      <a:pt x="0" y="1016000"/>
                    </a:moveTo>
                    <a:lnTo>
                      <a:pt x="1814286" y="0"/>
                    </a:lnTo>
                    <a:lnTo>
                      <a:pt x="2685143" y="522514"/>
                    </a:lnTo>
                    <a:lnTo>
                      <a:pt x="2685143" y="1567543"/>
                    </a:lnTo>
                  </a:path>
                </a:pathLst>
              </a:custGeom>
              <a:noFill/>
              <a:ln w="18415">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IN" sz="1765" kern="0">
                  <a:solidFill>
                    <a:sysClr val="windowText" lastClr="000000"/>
                  </a:solidFill>
                </a:endParaRPr>
              </a:p>
            </p:txBody>
          </p:sp>
          <p:sp>
            <p:nvSpPr>
              <p:cNvPr id="187" name="Freeform 186"/>
              <p:cNvSpPr/>
              <p:nvPr/>
            </p:nvSpPr>
            <p:spPr bwMode="auto">
              <a:xfrm>
                <a:off x="4746171" y="-2598057"/>
                <a:ext cx="1741715" cy="537028"/>
              </a:xfrm>
              <a:custGeom>
                <a:avLst/>
                <a:gdLst>
                  <a:gd name="connsiteX0" fmla="*/ 0 w 1741715"/>
                  <a:gd name="connsiteY0" fmla="*/ 0 h 537028"/>
                  <a:gd name="connsiteX1" fmla="*/ 1741715 w 1741715"/>
                  <a:gd name="connsiteY1" fmla="*/ 0 h 537028"/>
                  <a:gd name="connsiteX2" fmla="*/ 870858 w 1741715"/>
                  <a:gd name="connsiteY2" fmla="*/ 537028 h 537028"/>
                </a:gdLst>
                <a:ahLst/>
                <a:cxnLst>
                  <a:cxn ang="0">
                    <a:pos x="connsiteX0" y="connsiteY0"/>
                  </a:cxn>
                  <a:cxn ang="0">
                    <a:pos x="connsiteX1" y="connsiteY1"/>
                  </a:cxn>
                  <a:cxn ang="0">
                    <a:pos x="connsiteX2" y="connsiteY2"/>
                  </a:cxn>
                </a:cxnLst>
                <a:rect l="l" t="t" r="r" b="b"/>
                <a:pathLst>
                  <a:path w="1741715" h="537028">
                    <a:moveTo>
                      <a:pt x="0" y="0"/>
                    </a:moveTo>
                    <a:lnTo>
                      <a:pt x="1741715" y="0"/>
                    </a:lnTo>
                    <a:lnTo>
                      <a:pt x="870858" y="537028"/>
                    </a:lnTo>
                  </a:path>
                </a:pathLst>
              </a:custGeom>
              <a:noFill/>
              <a:ln w="18415">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IN" sz="1765" kern="0">
                  <a:solidFill>
                    <a:sysClr val="windowText" lastClr="000000"/>
                  </a:solidFill>
                </a:endParaRPr>
              </a:p>
            </p:txBody>
          </p:sp>
          <p:sp>
            <p:nvSpPr>
              <p:cNvPr id="188" name="Freeform 187"/>
              <p:cNvSpPr/>
              <p:nvPr/>
            </p:nvSpPr>
            <p:spPr bwMode="auto">
              <a:xfrm>
                <a:off x="3846286" y="-2569029"/>
                <a:ext cx="6720114" cy="5733143"/>
              </a:xfrm>
              <a:custGeom>
                <a:avLst/>
                <a:gdLst>
                  <a:gd name="connsiteX0" fmla="*/ 2641600 w 6720114"/>
                  <a:gd name="connsiteY0" fmla="*/ 0 h 5733143"/>
                  <a:gd name="connsiteX1" fmla="*/ 6720114 w 6720114"/>
                  <a:gd name="connsiteY1" fmla="*/ 2307772 h 5733143"/>
                  <a:gd name="connsiteX2" fmla="*/ 6676571 w 6720114"/>
                  <a:gd name="connsiteY2" fmla="*/ 3367315 h 5733143"/>
                  <a:gd name="connsiteX3" fmla="*/ 2554514 w 6720114"/>
                  <a:gd name="connsiteY3" fmla="*/ 5733143 h 5733143"/>
                  <a:gd name="connsiteX4" fmla="*/ 885371 w 6720114"/>
                  <a:gd name="connsiteY4" fmla="*/ 5689600 h 5733143"/>
                  <a:gd name="connsiteX5" fmla="*/ 0 w 6720114"/>
                  <a:gd name="connsiteY5" fmla="*/ 5210629 h 573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20114" h="5733143">
                    <a:moveTo>
                      <a:pt x="2641600" y="0"/>
                    </a:moveTo>
                    <a:lnTo>
                      <a:pt x="6720114" y="2307772"/>
                    </a:lnTo>
                    <a:lnTo>
                      <a:pt x="6676571" y="3367315"/>
                    </a:lnTo>
                    <a:lnTo>
                      <a:pt x="2554514" y="5733143"/>
                    </a:lnTo>
                    <a:lnTo>
                      <a:pt x="885371" y="5689600"/>
                    </a:lnTo>
                    <a:lnTo>
                      <a:pt x="0" y="5210629"/>
                    </a:lnTo>
                  </a:path>
                </a:pathLst>
              </a:custGeom>
              <a:noFill/>
              <a:ln w="18415">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IN" sz="1765" kern="0">
                  <a:solidFill>
                    <a:sysClr val="windowText" lastClr="000000"/>
                  </a:solidFill>
                </a:endParaRPr>
              </a:p>
            </p:txBody>
          </p:sp>
          <p:sp>
            <p:nvSpPr>
              <p:cNvPr id="189" name="Freeform 188"/>
              <p:cNvSpPr/>
              <p:nvPr/>
            </p:nvSpPr>
            <p:spPr bwMode="auto">
              <a:xfrm>
                <a:off x="10551886" y="-232229"/>
                <a:ext cx="899885" cy="5152572"/>
              </a:xfrm>
              <a:custGeom>
                <a:avLst/>
                <a:gdLst>
                  <a:gd name="connsiteX0" fmla="*/ 0 w 899885"/>
                  <a:gd name="connsiteY0" fmla="*/ 0 h 5152572"/>
                  <a:gd name="connsiteX1" fmla="*/ 899885 w 899885"/>
                  <a:gd name="connsiteY1" fmla="*/ 1524000 h 5152572"/>
                  <a:gd name="connsiteX2" fmla="*/ 899885 w 899885"/>
                  <a:gd name="connsiteY2" fmla="*/ 5152572 h 5152572"/>
                  <a:gd name="connsiteX3" fmla="*/ 0 w 899885"/>
                  <a:gd name="connsiteY3" fmla="*/ 4673600 h 5152572"/>
                </a:gdLst>
                <a:ahLst/>
                <a:cxnLst>
                  <a:cxn ang="0">
                    <a:pos x="connsiteX0" y="connsiteY0"/>
                  </a:cxn>
                  <a:cxn ang="0">
                    <a:pos x="connsiteX1" y="connsiteY1"/>
                  </a:cxn>
                  <a:cxn ang="0">
                    <a:pos x="connsiteX2" y="connsiteY2"/>
                  </a:cxn>
                  <a:cxn ang="0">
                    <a:pos x="connsiteX3" y="connsiteY3"/>
                  </a:cxn>
                </a:cxnLst>
                <a:rect l="l" t="t" r="r" b="b"/>
                <a:pathLst>
                  <a:path w="899885" h="5152572">
                    <a:moveTo>
                      <a:pt x="0" y="0"/>
                    </a:moveTo>
                    <a:lnTo>
                      <a:pt x="899885" y="1524000"/>
                    </a:lnTo>
                    <a:lnTo>
                      <a:pt x="899885" y="5152572"/>
                    </a:lnTo>
                    <a:lnTo>
                      <a:pt x="0" y="4673600"/>
                    </a:lnTo>
                  </a:path>
                </a:pathLst>
              </a:custGeom>
              <a:noFill/>
              <a:ln w="18415">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IN" sz="1765" kern="0">
                  <a:solidFill>
                    <a:sysClr val="windowText" lastClr="000000"/>
                  </a:solidFill>
                </a:endParaRPr>
              </a:p>
            </p:txBody>
          </p:sp>
          <p:sp>
            <p:nvSpPr>
              <p:cNvPr id="190" name="Freeform 189"/>
              <p:cNvSpPr/>
              <p:nvPr/>
            </p:nvSpPr>
            <p:spPr bwMode="auto">
              <a:xfrm>
                <a:off x="10522857" y="783771"/>
                <a:ext cx="943429" cy="493486"/>
              </a:xfrm>
              <a:custGeom>
                <a:avLst/>
                <a:gdLst>
                  <a:gd name="connsiteX0" fmla="*/ 0 w 943429"/>
                  <a:gd name="connsiteY0" fmla="*/ 0 h 493486"/>
                  <a:gd name="connsiteX1" fmla="*/ 943429 w 943429"/>
                  <a:gd name="connsiteY1" fmla="*/ 493486 h 493486"/>
                </a:gdLst>
                <a:ahLst/>
                <a:cxnLst>
                  <a:cxn ang="0">
                    <a:pos x="connsiteX0" y="connsiteY0"/>
                  </a:cxn>
                  <a:cxn ang="0">
                    <a:pos x="connsiteX1" y="connsiteY1"/>
                  </a:cxn>
                </a:cxnLst>
                <a:rect l="l" t="t" r="r" b="b"/>
                <a:pathLst>
                  <a:path w="943429" h="493486">
                    <a:moveTo>
                      <a:pt x="0" y="0"/>
                    </a:moveTo>
                    <a:lnTo>
                      <a:pt x="943429" y="493486"/>
                    </a:lnTo>
                  </a:path>
                </a:pathLst>
              </a:custGeom>
              <a:noFill/>
              <a:ln w="18415">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IN" sz="1765" kern="0">
                  <a:solidFill>
                    <a:sysClr val="windowText" lastClr="000000"/>
                  </a:solidFill>
                </a:endParaRPr>
              </a:p>
            </p:txBody>
          </p:sp>
          <p:sp>
            <p:nvSpPr>
              <p:cNvPr id="191" name="Freeform 190"/>
              <p:cNvSpPr/>
              <p:nvPr/>
            </p:nvSpPr>
            <p:spPr bwMode="auto">
              <a:xfrm>
                <a:off x="4702629" y="3120571"/>
                <a:ext cx="1756228" cy="1538515"/>
              </a:xfrm>
              <a:custGeom>
                <a:avLst/>
                <a:gdLst>
                  <a:gd name="connsiteX0" fmla="*/ 0 w 1756228"/>
                  <a:gd name="connsiteY0" fmla="*/ 0 h 1538515"/>
                  <a:gd name="connsiteX1" fmla="*/ 943428 w 1756228"/>
                  <a:gd name="connsiteY1" fmla="*/ 1538515 h 1538515"/>
                  <a:gd name="connsiteX2" fmla="*/ 1756228 w 1756228"/>
                  <a:gd name="connsiteY2" fmla="*/ 43543 h 1538515"/>
                </a:gdLst>
                <a:ahLst/>
                <a:cxnLst>
                  <a:cxn ang="0">
                    <a:pos x="connsiteX0" y="connsiteY0"/>
                  </a:cxn>
                  <a:cxn ang="0">
                    <a:pos x="connsiteX1" y="connsiteY1"/>
                  </a:cxn>
                  <a:cxn ang="0">
                    <a:pos x="connsiteX2" y="connsiteY2"/>
                  </a:cxn>
                </a:cxnLst>
                <a:rect l="l" t="t" r="r" b="b"/>
                <a:pathLst>
                  <a:path w="1756228" h="1538515">
                    <a:moveTo>
                      <a:pt x="0" y="0"/>
                    </a:moveTo>
                    <a:lnTo>
                      <a:pt x="943428" y="1538515"/>
                    </a:lnTo>
                    <a:lnTo>
                      <a:pt x="1756228" y="43543"/>
                    </a:lnTo>
                  </a:path>
                </a:pathLst>
              </a:custGeom>
              <a:noFill/>
              <a:ln w="18415">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IN" sz="1765" kern="0">
                  <a:solidFill>
                    <a:sysClr val="windowText" lastClr="000000"/>
                  </a:solidFill>
                </a:endParaRPr>
              </a:p>
            </p:txBody>
          </p:sp>
          <p:sp>
            <p:nvSpPr>
              <p:cNvPr id="192" name="Freeform 191"/>
              <p:cNvSpPr/>
              <p:nvPr/>
            </p:nvSpPr>
            <p:spPr bwMode="auto">
              <a:xfrm>
                <a:off x="3802743" y="4644571"/>
                <a:ext cx="1828800" cy="3657600"/>
              </a:xfrm>
              <a:custGeom>
                <a:avLst/>
                <a:gdLst>
                  <a:gd name="connsiteX0" fmla="*/ 1828800 w 1828800"/>
                  <a:gd name="connsiteY0" fmla="*/ 0 h 3657600"/>
                  <a:gd name="connsiteX1" fmla="*/ 1828800 w 1828800"/>
                  <a:gd name="connsiteY1" fmla="*/ 3657600 h 3657600"/>
                  <a:gd name="connsiteX2" fmla="*/ 0 w 1828800"/>
                  <a:gd name="connsiteY2" fmla="*/ 2612572 h 3657600"/>
                </a:gdLst>
                <a:ahLst/>
                <a:cxnLst>
                  <a:cxn ang="0">
                    <a:pos x="connsiteX0" y="connsiteY0"/>
                  </a:cxn>
                  <a:cxn ang="0">
                    <a:pos x="connsiteX1" y="connsiteY1"/>
                  </a:cxn>
                  <a:cxn ang="0">
                    <a:pos x="connsiteX2" y="connsiteY2"/>
                  </a:cxn>
                </a:cxnLst>
                <a:rect l="l" t="t" r="r" b="b"/>
                <a:pathLst>
                  <a:path w="1828800" h="3657600">
                    <a:moveTo>
                      <a:pt x="1828800" y="0"/>
                    </a:moveTo>
                    <a:lnTo>
                      <a:pt x="1828800" y="3657600"/>
                    </a:lnTo>
                    <a:lnTo>
                      <a:pt x="0" y="2612572"/>
                    </a:lnTo>
                  </a:path>
                </a:pathLst>
              </a:custGeom>
              <a:noFill/>
              <a:ln w="18415">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IN" sz="1765" kern="0">
                  <a:solidFill>
                    <a:sysClr val="windowText" lastClr="000000"/>
                  </a:solidFill>
                </a:endParaRPr>
              </a:p>
            </p:txBody>
          </p:sp>
          <p:sp>
            <p:nvSpPr>
              <p:cNvPr id="193" name="Freeform 192"/>
              <p:cNvSpPr/>
              <p:nvPr/>
            </p:nvSpPr>
            <p:spPr bwMode="auto">
              <a:xfrm>
                <a:off x="5617029" y="4934857"/>
                <a:ext cx="5849257" cy="3381829"/>
              </a:xfrm>
              <a:custGeom>
                <a:avLst/>
                <a:gdLst>
                  <a:gd name="connsiteX0" fmla="*/ 0 w 5849257"/>
                  <a:gd name="connsiteY0" fmla="*/ 3381829 h 3381829"/>
                  <a:gd name="connsiteX1" fmla="*/ 5849257 w 5849257"/>
                  <a:gd name="connsiteY1" fmla="*/ 0 h 3381829"/>
                </a:gdLst>
                <a:ahLst/>
                <a:cxnLst>
                  <a:cxn ang="0">
                    <a:pos x="connsiteX0" y="connsiteY0"/>
                  </a:cxn>
                  <a:cxn ang="0">
                    <a:pos x="connsiteX1" y="connsiteY1"/>
                  </a:cxn>
                </a:cxnLst>
                <a:rect l="l" t="t" r="r" b="b"/>
                <a:pathLst>
                  <a:path w="5849257" h="3381829">
                    <a:moveTo>
                      <a:pt x="0" y="3381829"/>
                    </a:moveTo>
                    <a:lnTo>
                      <a:pt x="5849257" y="0"/>
                    </a:lnTo>
                  </a:path>
                </a:pathLst>
              </a:custGeom>
              <a:noFill/>
              <a:ln w="18415">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IN" sz="1765" kern="0">
                  <a:solidFill>
                    <a:sysClr val="windowText" lastClr="000000"/>
                  </a:solidFill>
                </a:endParaRPr>
              </a:p>
            </p:txBody>
          </p:sp>
        </p:grpSp>
        <p:grpSp>
          <p:nvGrpSpPr>
            <p:cNvPr id="179" name="Group 178"/>
            <p:cNvGrpSpPr/>
            <p:nvPr/>
          </p:nvGrpSpPr>
          <p:grpSpPr>
            <a:xfrm>
              <a:off x="5510813" y="1722419"/>
              <a:ext cx="699304" cy="396442"/>
              <a:chOff x="2065951" y="-757238"/>
              <a:chExt cx="3503137" cy="1985962"/>
            </a:xfrm>
          </p:grpSpPr>
          <p:sp>
            <p:nvSpPr>
              <p:cNvPr id="180" name="Freeform 179"/>
              <p:cNvSpPr/>
              <p:nvPr/>
            </p:nvSpPr>
            <p:spPr bwMode="auto">
              <a:xfrm>
                <a:off x="2723175" y="-4202"/>
                <a:ext cx="2137432" cy="1232926"/>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78779"/>
                  <a:gd name="connsiteY0" fmla="*/ 222138 h 538990"/>
                  <a:gd name="connsiteX1" fmla="*/ 410887 w 978779"/>
                  <a:gd name="connsiteY1" fmla="*/ 18938 h 538990"/>
                  <a:gd name="connsiteX2" fmla="*/ 544237 w 978779"/>
                  <a:gd name="connsiteY2" fmla="*/ 12588 h 538990"/>
                  <a:gd name="connsiteX3" fmla="*/ 893487 w 978779"/>
                  <a:gd name="connsiteY3" fmla="*/ 190388 h 538990"/>
                  <a:gd name="connsiteX4" fmla="*/ 949484 w 978779"/>
                  <a:gd name="connsiteY4" fmla="*/ 312531 h 538990"/>
                  <a:gd name="connsiteX5" fmla="*/ 614087 w 978779"/>
                  <a:gd name="connsiteY5" fmla="*/ 495188 h 538990"/>
                  <a:gd name="connsiteX6" fmla="*/ 448987 w 978779"/>
                  <a:gd name="connsiteY6" fmla="*/ 526938 h 538990"/>
                  <a:gd name="connsiteX7" fmla="*/ 38732 w 978779"/>
                  <a:gd name="connsiteY7" fmla="*/ 307914 h 538990"/>
                  <a:gd name="connsiteX8" fmla="*/ 23537 w 978779"/>
                  <a:gd name="connsiteY8" fmla="*/ 222138 h 538990"/>
                  <a:gd name="connsiteX0" fmla="*/ 23537 w 992454"/>
                  <a:gd name="connsiteY0" fmla="*/ 222138 h 538990"/>
                  <a:gd name="connsiteX1" fmla="*/ 410887 w 992454"/>
                  <a:gd name="connsiteY1" fmla="*/ 18938 h 538990"/>
                  <a:gd name="connsiteX2" fmla="*/ 544237 w 992454"/>
                  <a:gd name="connsiteY2" fmla="*/ 12588 h 538990"/>
                  <a:gd name="connsiteX3" fmla="*/ 930433 w 992454"/>
                  <a:gd name="connsiteY3" fmla="*/ 205601 h 538990"/>
                  <a:gd name="connsiteX4" fmla="*/ 949484 w 992454"/>
                  <a:gd name="connsiteY4" fmla="*/ 312531 h 538990"/>
                  <a:gd name="connsiteX5" fmla="*/ 614087 w 992454"/>
                  <a:gd name="connsiteY5" fmla="*/ 495188 h 538990"/>
                  <a:gd name="connsiteX6" fmla="*/ 448987 w 992454"/>
                  <a:gd name="connsiteY6" fmla="*/ 526938 h 538990"/>
                  <a:gd name="connsiteX7" fmla="*/ 38732 w 992454"/>
                  <a:gd name="connsiteY7" fmla="*/ 307914 h 538990"/>
                  <a:gd name="connsiteX8" fmla="*/ 23537 w 992454"/>
                  <a:gd name="connsiteY8" fmla="*/ 222138 h 538990"/>
                  <a:gd name="connsiteX0" fmla="*/ 23537 w 983127"/>
                  <a:gd name="connsiteY0" fmla="*/ 222138 h 538990"/>
                  <a:gd name="connsiteX1" fmla="*/ 410887 w 983127"/>
                  <a:gd name="connsiteY1" fmla="*/ 18938 h 538990"/>
                  <a:gd name="connsiteX2" fmla="*/ 544237 w 983127"/>
                  <a:gd name="connsiteY2" fmla="*/ 12588 h 538990"/>
                  <a:gd name="connsiteX3" fmla="*/ 930433 w 983127"/>
                  <a:gd name="connsiteY3" fmla="*/ 205601 h 538990"/>
                  <a:gd name="connsiteX4" fmla="*/ 949484 w 983127"/>
                  <a:gd name="connsiteY4" fmla="*/ 312531 h 538990"/>
                  <a:gd name="connsiteX5" fmla="*/ 614087 w 983127"/>
                  <a:gd name="connsiteY5" fmla="*/ 495188 h 538990"/>
                  <a:gd name="connsiteX6" fmla="*/ 448987 w 983127"/>
                  <a:gd name="connsiteY6" fmla="*/ 526938 h 538990"/>
                  <a:gd name="connsiteX7" fmla="*/ 38732 w 983127"/>
                  <a:gd name="connsiteY7" fmla="*/ 307914 h 538990"/>
                  <a:gd name="connsiteX8" fmla="*/ 23537 w 983127"/>
                  <a:gd name="connsiteY8" fmla="*/ 222138 h 538990"/>
                  <a:gd name="connsiteX0" fmla="*/ 23537 w 982199"/>
                  <a:gd name="connsiteY0" fmla="*/ 222138 h 538990"/>
                  <a:gd name="connsiteX1" fmla="*/ 410887 w 982199"/>
                  <a:gd name="connsiteY1" fmla="*/ 18938 h 538990"/>
                  <a:gd name="connsiteX2" fmla="*/ 544237 w 982199"/>
                  <a:gd name="connsiteY2" fmla="*/ 12588 h 538990"/>
                  <a:gd name="connsiteX3" fmla="*/ 930433 w 982199"/>
                  <a:gd name="connsiteY3" fmla="*/ 205601 h 538990"/>
                  <a:gd name="connsiteX4" fmla="*/ 949484 w 982199"/>
                  <a:gd name="connsiteY4" fmla="*/ 312531 h 538990"/>
                  <a:gd name="connsiteX5" fmla="*/ 614087 w 982199"/>
                  <a:gd name="connsiteY5" fmla="*/ 495188 h 538990"/>
                  <a:gd name="connsiteX6" fmla="*/ 448987 w 982199"/>
                  <a:gd name="connsiteY6" fmla="*/ 526938 h 538990"/>
                  <a:gd name="connsiteX7" fmla="*/ 38732 w 982199"/>
                  <a:gd name="connsiteY7" fmla="*/ 307914 h 538990"/>
                  <a:gd name="connsiteX8" fmla="*/ 23537 w 982199"/>
                  <a:gd name="connsiteY8" fmla="*/ 222138 h 538990"/>
                  <a:gd name="connsiteX0" fmla="*/ 23537 w 982199"/>
                  <a:gd name="connsiteY0" fmla="*/ 231191 h 548043"/>
                  <a:gd name="connsiteX1" fmla="*/ 410887 w 982199"/>
                  <a:gd name="connsiteY1" fmla="*/ 27991 h 548043"/>
                  <a:gd name="connsiteX2" fmla="*/ 552931 w 982199"/>
                  <a:gd name="connsiteY2" fmla="*/ 8601 h 548043"/>
                  <a:gd name="connsiteX3" fmla="*/ 930433 w 982199"/>
                  <a:gd name="connsiteY3" fmla="*/ 214654 h 548043"/>
                  <a:gd name="connsiteX4" fmla="*/ 949484 w 982199"/>
                  <a:gd name="connsiteY4" fmla="*/ 321584 h 548043"/>
                  <a:gd name="connsiteX5" fmla="*/ 614087 w 982199"/>
                  <a:gd name="connsiteY5" fmla="*/ 504241 h 548043"/>
                  <a:gd name="connsiteX6" fmla="*/ 448987 w 982199"/>
                  <a:gd name="connsiteY6" fmla="*/ 535991 h 548043"/>
                  <a:gd name="connsiteX7" fmla="*/ 38732 w 982199"/>
                  <a:gd name="connsiteY7" fmla="*/ 316967 h 548043"/>
                  <a:gd name="connsiteX8" fmla="*/ 23537 w 982199"/>
                  <a:gd name="connsiteY8" fmla="*/ 231191 h 548043"/>
                  <a:gd name="connsiteX0" fmla="*/ 23537 w 982199"/>
                  <a:gd name="connsiteY0" fmla="*/ 241943 h 558795"/>
                  <a:gd name="connsiteX1" fmla="*/ 428274 w 982199"/>
                  <a:gd name="connsiteY1" fmla="*/ 12663 h 558795"/>
                  <a:gd name="connsiteX2" fmla="*/ 552931 w 982199"/>
                  <a:gd name="connsiteY2" fmla="*/ 19353 h 558795"/>
                  <a:gd name="connsiteX3" fmla="*/ 930433 w 982199"/>
                  <a:gd name="connsiteY3" fmla="*/ 225406 h 558795"/>
                  <a:gd name="connsiteX4" fmla="*/ 949484 w 982199"/>
                  <a:gd name="connsiteY4" fmla="*/ 332336 h 558795"/>
                  <a:gd name="connsiteX5" fmla="*/ 614087 w 982199"/>
                  <a:gd name="connsiteY5" fmla="*/ 514993 h 558795"/>
                  <a:gd name="connsiteX6" fmla="*/ 448987 w 982199"/>
                  <a:gd name="connsiteY6" fmla="*/ 546743 h 558795"/>
                  <a:gd name="connsiteX7" fmla="*/ 38732 w 982199"/>
                  <a:gd name="connsiteY7" fmla="*/ 327719 h 558795"/>
                  <a:gd name="connsiteX8" fmla="*/ 23537 w 982199"/>
                  <a:gd name="connsiteY8" fmla="*/ 241943 h 558795"/>
                  <a:gd name="connsiteX0" fmla="*/ 23537 w 980850"/>
                  <a:gd name="connsiteY0" fmla="*/ 241943 h 558795"/>
                  <a:gd name="connsiteX1" fmla="*/ 428274 w 980850"/>
                  <a:gd name="connsiteY1" fmla="*/ 12663 h 558795"/>
                  <a:gd name="connsiteX2" fmla="*/ 552931 w 980850"/>
                  <a:gd name="connsiteY2" fmla="*/ 19353 h 558795"/>
                  <a:gd name="connsiteX3" fmla="*/ 930433 w 980850"/>
                  <a:gd name="connsiteY3" fmla="*/ 225406 h 558795"/>
                  <a:gd name="connsiteX4" fmla="*/ 947311 w 980850"/>
                  <a:gd name="connsiteY4" fmla="*/ 323643 h 558795"/>
                  <a:gd name="connsiteX5" fmla="*/ 614087 w 980850"/>
                  <a:gd name="connsiteY5" fmla="*/ 514993 h 558795"/>
                  <a:gd name="connsiteX6" fmla="*/ 448987 w 980850"/>
                  <a:gd name="connsiteY6" fmla="*/ 546743 h 558795"/>
                  <a:gd name="connsiteX7" fmla="*/ 38732 w 980850"/>
                  <a:gd name="connsiteY7" fmla="*/ 327719 h 558795"/>
                  <a:gd name="connsiteX8" fmla="*/ 23537 w 980850"/>
                  <a:gd name="connsiteY8" fmla="*/ 241943 h 558795"/>
                  <a:gd name="connsiteX0" fmla="*/ 23537 w 975406"/>
                  <a:gd name="connsiteY0" fmla="*/ 241943 h 558795"/>
                  <a:gd name="connsiteX1" fmla="*/ 428274 w 975406"/>
                  <a:gd name="connsiteY1" fmla="*/ 12663 h 558795"/>
                  <a:gd name="connsiteX2" fmla="*/ 552931 w 975406"/>
                  <a:gd name="connsiteY2" fmla="*/ 19353 h 558795"/>
                  <a:gd name="connsiteX3" fmla="*/ 930433 w 975406"/>
                  <a:gd name="connsiteY3" fmla="*/ 225406 h 558795"/>
                  <a:gd name="connsiteX4" fmla="*/ 947311 w 975406"/>
                  <a:gd name="connsiteY4" fmla="*/ 323643 h 558795"/>
                  <a:gd name="connsiteX5" fmla="*/ 614087 w 975406"/>
                  <a:gd name="connsiteY5" fmla="*/ 514993 h 558795"/>
                  <a:gd name="connsiteX6" fmla="*/ 448987 w 975406"/>
                  <a:gd name="connsiteY6" fmla="*/ 546743 h 558795"/>
                  <a:gd name="connsiteX7" fmla="*/ 38732 w 975406"/>
                  <a:gd name="connsiteY7" fmla="*/ 327719 h 558795"/>
                  <a:gd name="connsiteX8" fmla="*/ 23537 w 975406"/>
                  <a:gd name="connsiteY8" fmla="*/ 241943 h 558795"/>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406" h="562641">
                    <a:moveTo>
                      <a:pt x="23537" y="245789"/>
                    </a:moveTo>
                    <a:lnTo>
                      <a:pt x="428274" y="16509"/>
                    </a:lnTo>
                    <a:cubicBezTo>
                      <a:pt x="464812" y="-5074"/>
                      <a:pt x="505280" y="-5237"/>
                      <a:pt x="535544" y="14506"/>
                    </a:cubicBezTo>
                    <a:lnTo>
                      <a:pt x="930433" y="229252"/>
                    </a:lnTo>
                    <a:cubicBezTo>
                      <a:pt x="984730" y="258545"/>
                      <a:pt x="989248" y="302543"/>
                      <a:pt x="947311" y="327489"/>
                    </a:cubicBezTo>
                    <a:lnTo>
                      <a:pt x="614087" y="518839"/>
                    </a:lnTo>
                    <a:cubicBezTo>
                      <a:pt x="540420" y="557216"/>
                      <a:pt x="510370" y="576960"/>
                      <a:pt x="448987" y="550589"/>
                    </a:cubicBezTo>
                    <a:lnTo>
                      <a:pt x="38732" y="331565"/>
                    </a:lnTo>
                    <a:cubicBezTo>
                      <a:pt x="-11514" y="305610"/>
                      <a:pt x="-8768" y="263416"/>
                      <a:pt x="23537" y="245789"/>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181" name="Freeform 180"/>
              <p:cNvSpPr/>
              <p:nvPr/>
            </p:nvSpPr>
            <p:spPr bwMode="auto">
              <a:xfrm>
                <a:off x="4594837" y="-38100"/>
                <a:ext cx="974251" cy="561973"/>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78779"/>
                  <a:gd name="connsiteY0" fmla="*/ 222138 h 538990"/>
                  <a:gd name="connsiteX1" fmla="*/ 410887 w 978779"/>
                  <a:gd name="connsiteY1" fmla="*/ 18938 h 538990"/>
                  <a:gd name="connsiteX2" fmla="*/ 544237 w 978779"/>
                  <a:gd name="connsiteY2" fmla="*/ 12588 h 538990"/>
                  <a:gd name="connsiteX3" fmla="*/ 893487 w 978779"/>
                  <a:gd name="connsiteY3" fmla="*/ 190388 h 538990"/>
                  <a:gd name="connsiteX4" fmla="*/ 949484 w 978779"/>
                  <a:gd name="connsiteY4" fmla="*/ 312531 h 538990"/>
                  <a:gd name="connsiteX5" fmla="*/ 614087 w 978779"/>
                  <a:gd name="connsiteY5" fmla="*/ 495188 h 538990"/>
                  <a:gd name="connsiteX6" fmla="*/ 448987 w 978779"/>
                  <a:gd name="connsiteY6" fmla="*/ 526938 h 538990"/>
                  <a:gd name="connsiteX7" fmla="*/ 38732 w 978779"/>
                  <a:gd name="connsiteY7" fmla="*/ 307914 h 538990"/>
                  <a:gd name="connsiteX8" fmla="*/ 23537 w 978779"/>
                  <a:gd name="connsiteY8" fmla="*/ 222138 h 538990"/>
                  <a:gd name="connsiteX0" fmla="*/ 23537 w 992454"/>
                  <a:gd name="connsiteY0" fmla="*/ 222138 h 538990"/>
                  <a:gd name="connsiteX1" fmla="*/ 410887 w 992454"/>
                  <a:gd name="connsiteY1" fmla="*/ 18938 h 538990"/>
                  <a:gd name="connsiteX2" fmla="*/ 544237 w 992454"/>
                  <a:gd name="connsiteY2" fmla="*/ 12588 h 538990"/>
                  <a:gd name="connsiteX3" fmla="*/ 930433 w 992454"/>
                  <a:gd name="connsiteY3" fmla="*/ 205601 h 538990"/>
                  <a:gd name="connsiteX4" fmla="*/ 949484 w 992454"/>
                  <a:gd name="connsiteY4" fmla="*/ 312531 h 538990"/>
                  <a:gd name="connsiteX5" fmla="*/ 614087 w 992454"/>
                  <a:gd name="connsiteY5" fmla="*/ 495188 h 538990"/>
                  <a:gd name="connsiteX6" fmla="*/ 448987 w 992454"/>
                  <a:gd name="connsiteY6" fmla="*/ 526938 h 538990"/>
                  <a:gd name="connsiteX7" fmla="*/ 38732 w 992454"/>
                  <a:gd name="connsiteY7" fmla="*/ 307914 h 538990"/>
                  <a:gd name="connsiteX8" fmla="*/ 23537 w 992454"/>
                  <a:gd name="connsiteY8" fmla="*/ 222138 h 538990"/>
                  <a:gd name="connsiteX0" fmla="*/ 23537 w 983127"/>
                  <a:gd name="connsiteY0" fmla="*/ 222138 h 538990"/>
                  <a:gd name="connsiteX1" fmla="*/ 410887 w 983127"/>
                  <a:gd name="connsiteY1" fmla="*/ 18938 h 538990"/>
                  <a:gd name="connsiteX2" fmla="*/ 544237 w 983127"/>
                  <a:gd name="connsiteY2" fmla="*/ 12588 h 538990"/>
                  <a:gd name="connsiteX3" fmla="*/ 930433 w 983127"/>
                  <a:gd name="connsiteY3" fmla="*/ 205601 h 538990"/>
                  <a:gd name="connsiteX4" fmla="*/ 949484 w 983127"/>
                  <a:gd name="connsiteY4" fmla="*/ 312531 h 538990"/>
                  <a:gd name="connsiteX5" fmla="*/ 614087 w 983127"/>
                  <a:gd name="connsiteY5" fmla="*/ 495188 h 538990"/>
                  <a:gd name="connsiteX6" fmla="*/ 448987 w 983127"/>
                  <a:gd name="connsiteY6" fmla="*/ 526938 h 538990"/>
                  <a:gd name="connsiteX7" fmla="*/ 38732 w 983127"/>
                  <a:gd name="connsiteY7" fmla="*/ 307914 h 538990"/>
                  <a:gd name="connsiteX8" fmla="*/ 23537 w 983127"/>
                  <a:gd name="connsiteY8" fmla="*/ 222138 h 538990"/>
                  <a:gd name="connsiteX0" fmla="*/ 23537 w 982199"/>
                  <a:gd name="connsiteY0" fmla="*/ 222138 h 538990"/>
                  <a:gd name="connsiteX1" fmla="*/ 410887 w 982199"/>
                  <a:gd name="connsiteY1" fmla="*/ 18938 h 538990"/>
                  <a:gd name="connsiteX2" fmla="*/ 544237 w 982199"/>
                  <a:gd name="connsiteY2" fmla="*/ 12588 h 538990"/>
                  <a:gd name="connsiteX3" fmla="*/ 930433 w 982199"/>
                  <a:gd name="connsiteY3" fmla="*/ 205601 h 538990"/>
                  <a:gd name="connsiteX4" fmla="*/ 949484 w 982199"/>
                  <a:gd name="connsiteY4" fmla="*/ 312531 h 538990"/>
                  <a:gd name="connsiteX5" fmla="*/ 614087 w 982199"/>
                  <a:gd name="connsiteY5" fmla="*/ 495188 h 538990"/>
                  <a:gd name="connsiteX6" fmla="*/ 448987 w 982199"/>
                  <a:gd name="connsiteY6" fmla="*/ 526938 h 538990"/>
                  <a:gd name="connsiteX7" fmla="*/ 38732 w 982199"/>
                  <a:gd name="connsiteY7" fmla="*/ 307914 h 538990"/>
                  <a:gd name="connsiteX8" fmla="*/ 23537 w 982199"/>
                  <a:gd name="connsiteY8" fmla="*/ 222138 h 538990"/>
                  <a:gd name="connsiteX0" fmla="*/ 23537 w 982199"/>
                  <a:gd name="connsiteY0" fmla="*/ 231191 h 548043"/>
                  <a:gd name="connsiteX1" fmla="*/ 410887 w 982199"/>
                  <a:gd name="connsiteY1" fmla="*/ 27991 h 548043"/>
                  <a:gd name="connsiteX2" fmla="*/ 552931 w 982199"/>
                  <a:gd name="connsiteY2" fmla="*/ 8601 h 548043"/>
                  <a:gd name="connsiteX3" fmla="*/ 930433 w 982199"/>
                  <a:gd name="connsiteY3" fmla="*/ 214654 h 548043"/>
                  <a:gd name="connsiteX4" fmla="*/ 949484 w 982199"/>
                  <a:gd name="connsiteY4" fmla="*/ 321584 h 548043"/>
                  <a:gd name="connsiteX5" fmla="*/ 614087 w 982199"/>
                  <a:gd name="connsiteY5" fmla="*/ 504241 h 548043"/>
                  <a:gd name="connsiteX6" fmla="*/ 448987 w 982199"/>
                  <a:gd name="connsiteY6" fmla="*/ 535991 h 548043"/>
                  <a:gd name="connsiteX7" fmla="*/ 38732 w 982199"/>
                  <a:gd name="connsiteY7" fmla="*/ 316967 h 548043"/>
                  <a:gd name="connsiteX8" fmla="*/ 23537 w 982199"/>
                  <a:gd name="connsiteY8" fmla="*/ 231191 h 548043"/>
                  <a:gd name="connsiteX0" fmla="*/ 23537 w 982199"/>
                  <a:gd name="connsiteY0" fmla="*/ 241943 h 558795"/>
                  <a:gd name="connsiteX1" fmla="*/ 428274 w 982199"/>
                  <a:gd name="connsiteY1" fmla="*/ 12663 h 558795"/>
                  <a:gd name="connsiteX2" fmla="*/ 552931 w 982199"/>
                  <a:gd name="connsiteY2" fmla="*/ 19353 h 558795"/>
                  <a:gd name="connsiteX3" fmla="*/ 930433 w 982199"/>
                  <a:gd name="connsiteY3" fmla="*/ 225406 h 558795"/>
                  <a:gd name="connsiteX4" fmla="*/ 949484 w 982199"/>
                  <a:gd name="connsiteY4" fmla="*/ 332336 h 558795"/>
                  <a:gd name="connsiteX5" fmla="*/ 614087 w 982199"/>
                  <a:gd name="connsiteY5" fmla="*/ 514993 h 558795"/>
                  <a:gd name="connsiteX6" fmla="*/ 448987 w 982199"/>
                  <a:gd name="connsiteY6" fmla="*/ 546743 h 558795"/>
                  <a:gd name="connsiteX7" fmla="*/ 38732 w 982199"/>
                  <a:gd name="connsiteY7" fmla="*/ 327719 h 558795"/>
                  <a:gd name="connsiteX8" fmla="*/ 23537 w 982199"/>
                  <a:gd name="connsiteY8" fmla="*/ 241943 h 558795"/>
                  <a:gd name="connsiteX0" fmla="*/ 23537 w 980850"/>
                  <a:gd name="connsiteY0" fmla="*/ 241943 h 558795"/>
                  <a:gd name="connsiteX1" fmla="*/ 428274 w 980850"/>
                  <a:gd name="connsiteY1" fmla="*/ 12663 h 558795"/>
                  <a:gd name="connsiteX2" fmla="*/ 552931 w 980850"/>
                  <a:gd name="connsiteY2" fmla="*/ 19353 h 558795"/>
                  <a:gd name="connsiteX3" fmla="*/ 930433 w 980850"/>
                  <a:gd name="connsiteY3" fmla="*/ 225406 h 558795"/>
                  <a:gd name="connsiteX4" fmla="*/ 947311 w 980850"/>
                  <a:gd name="connsiteY4" fmla="*/ 323643 h 558795"/>
                  <a:gd name="connsiteX5" fmla="*/ 614087 w 980850"/>
                  <a:gd name="connsiteY5" fmla="*/ 514993 h 558795"/>
                  <a:gd name="connsiteX6" fmla="*/ 448987 w 980850"/>
                  <a:gd name="connsiteY6" fmla="*/ 546743 h 558795"/>
                  <a:gd name="connsiteX7" fmla="*/ 38732 w 980850"/>
                  <a:gd name="connsiteY7" fmla="*/ 327719 h 558795"/>
                  <a:gd name="connsiteX8" fmla="*/ 23537 w 980850"/>
                  <a:gd name="connsiteY8" fmla="*/ 241943 h 558795"/>
                  <a:gd name="connsiteX0" fmla="*/ 23537 w 975406"/>
                  <a:gd name="connsiteY0" fmla="*/ 241943 h 558795"/>
                  <a:gd name="connsiteX1" fmla="*/ 428274 w 975406"/>
                  <a:gd name="connsiteY1" fmla="*/ 12663 h 558795"/>
                  <a:gd name="connsiteX2" fmla="*/ 552931 w 975406"/>
                  <a:gd name="connsiteY2" fmla="*/ 19353 h 558795"/>
                  <a:gd name="connsiteX3" fmla="*/ 930433 w 975406"/>
                  <a:gd name="connsiteY3" fmla="*/ 225406 h 558795"/>
                  <a:gd name="connsiteX4" fmla="*/ 947311 w 975406"/>
                  <a:gd name="connsiteY4" fmla="*/ 323643 h 558795"/>
                  <a:gd name="connsiteX5" fmla="*/ 614087 w 975406"/>
                  <a:gd name="connsiteY5" fmla="*/ 514993 h 558795"/>
                  <a:gd name="connsiteX6" fmla="*/ 448987 w 975406"/>
                  <a:gd name="connsiteY6" fmla="*/ 546743 h 558795"/>
                  <a:gd name="connsiteX7" fmla="*/ 38732 w 975406"/>
                  <a:gd name="connsiteY7" fmla="*/ 327719 h 558795"/>
                  <a:gd name="connsiteX8" fmla="*/ 23537 w 975406"/>
                  <a:gd name="connsiteY8" fmla="*/ 241943 h 558795"/>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406" h="562641">
                    <a:moveTo>
                      <a:pt x="23537" y="245789"/>
                    </a:moveTo>
                    <a:lnTo>
                      <a:pt x="428274" y="16509"/>
                    </a:lnTo>
                    <a:cubicBezTo>
                      <a:pt x="464812" y="-5074"/>
                      <a:pt x="505280" y="-5237"/>
                      <a:pt x="535544" y="14506"/>
                    </a:cubicBezTo>
                    <a:lnTo>
                      <a:pt x="930433" y="229252"/>
                    </a:lnTo>
                    <a:cubicBezTo>
                      <a:pt x="984730" y="258545"/>
                      <a:pt x="989248" y="302543"/>
                      <a:pt x="947311" y="327489"/>
                    </a:cubicBezTo>
                    <a:lnTo>
                      <a:pt x="614087" y="518839"/>
                    </a:lnTo>
                    <a:cubicBezTo>
                      <a:pt x="540420" y="557216"/>
                      <a:pt x="510370" y="576960"/>
                      <a:pt x="448987" y="550589"/>
                    </a:cubicBezTo>
                    <a:lnTo>
                      <a:pt x="38732" y="331565"/>
                    </a:lnTo>
                    <a:cubicBezTo>
                      <a:pt x="-11514" y="305610"/>
                      <a:pt x="-8768" y="263416"/>
                      <a:pt x="23537" y="245789"/>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182" name="Freeform 181"/>
              <p:cNvSpPr/>
              <p:nvPr/>
            </p:nvSpPr>
            <p:spPr bwMode="auto">
              <a:xfrm>
                <a:off x="3956662" y="-376238"/>
                <a:ext cx="974251" cy="561973"/>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78779"/>
                  <a:gd name="connsiteY0" fmla="*/ 222138 h 538990"/>
                  <a:gd name="connsiteX1" fmla="*/ 410887 w 978779"/>
                  <a:gd name="connsiteY1" fmla="*/ 18938 h 538990"/>
                  <a:gd name="connsiteX2" fmla="*/ 544237 w 978779"/>
                  <a:gd name="connsiteY2" fmla="*/ 12588 h 538990"/>
                  <a:gd name="connsiteX3" fmla="*/ 893487 w 978779"/>
                  <a:gd name="connsiteY3" fmla="*/ 190388 h 538990"/>
                  <a:gd name="connsiteX4" fmla="*/ 949484 w 978779"/>
                  <a:gd name="connsiteY4" fmla="*/ 312531 h 538990"/>
                  <a:gd name="connsiteX5" fmla="*/ 614087 w 978779"/>
                  <a:gd name="connsiteY5" fmla="*/ 495188 h 538990"/>
                  <a:gd name="connsiteX6" fmla="*/ 448987 w 978779"/>
                  <a:gd name="connsiteY6" fmla="*/ 526938 h 538990"/>
                  <a:gd name="connsiteX7" fmla="*/ 38732 w 978779"/>
                  <a:gd name="connsiteY7" fmla="*/ 307914 h 538990"/>
                  <a:gd name="connsiteX8" fmla="*/ 23537 w 978779"/>
                  <a:gd name="connsiteY8" fmla="*/ 222138 h 538990"/>
                  <a:gd name="connsiteX0" fmla="*/ 23537 w 992454"/>
                  <a:gd name="connsiteY0" fmla="*/ 222138 h 538990"/>
                  <a:gd name="connsiteX1" fmla="*/ 410887 w 992454"/>
                  <a:gd name="connsiteY1" fmla="*/ 18938 h 538990"/>
                  <a:gd name="connsiteX2" fmla="*/ 544237 w 992454"/>
                  <a:gd name="connsiteY2" fmla="*/ 12588 h 538990"/>
                  <a:gd name="connsiteX3" fmla="*/ 930433 w 992454"/>
                  <a:gd name="connsiteY3" fmla="*/ 205601 h 538990"/>
                  <a:gd name="connsiteX4" fmla="*/ 949484 w 992454"/>
                  <a:gd name="connsiteY4" fmla="*/ 312531 h 538990"/>
                  <a:gd name="connsiteX5" fmla="*/ 614087 w 992454"/>
                  <a:gd name="connsiteY5" fmla="*/ 495188 h 538990"/>
                  <a:gd name="connsiteX6" fmla="*/ 448987 w 992454"/>
                  <a:gd name="connsiteY6" fmla="*/ 526938 h 538990"/>
                  <a:gd name="connsiteX7" fmla="*/ 38732 w 992454"/>
                  <a:gd name="connsiteY7" fmla="*/ 307914 h 538990"/>
                  <a:gd name="connsiteX8" fmla="*/ 23537 w 992454"/>
                  <a:gd name="connsiteY8" fmla="*/ 222138 h 538990"/>
                  <a:gd name="connsiteX0" fmla="*/ 23537 w 983127"/>
                  <a:gd name="connsiteY0" fmla="*/ 222138 h 538990"/>
                  <a:gd name="connsiteX1" fmla="*/ 410887 w 983127"/>
                  <a:gd name="connsiteY1" fmla="*/ 18938 h 538990"/>
                  <a:gd name="connsiteX2" fmla="*/ 544237 w 983127"/>
                  <a:gd name="connsiteY2" fmla="*/ 12588 h 538990"/>
                  <a:gd name="connsiteX3" fmla="*/ 930433 w 983127"/>
                  <a:gd name="connsiteY3" fmla="*/ 205601 h 538990"/>
                  <a:gd name="connsiteX4" fmla="*/ 949484 w 983127"/>
                  <a:gd name="connsiteY4" fmla="*/ 312531 h 538990"/>
                  <a:gd name="connsiteX5" fmla="*/ 614087 w 983127"/>
                  <a:gd name="connsiteY5" fmla="*/ 495188 h 538990"/>
                  <a:gd name="connsiteX6" fmla="*/ 448987 w 983127"/>
                  <a:gd name="connsiteY6" fmla="*/ 526938 h 538990"/>
                  <a:gd name="connsiteX7" fmla="*/ 38732 w 983127"/>
                  <a:gd name="connsiteY7" fmla="*/ 307914 h 538990"/>
                  <a:gd name="connsiteX8" fmla="*/ 23537 w 983127"/>
                  <a:gd name="connsiteY8" fmla="*/ 222138 h 538990"/>
                  <a:gd name="connsiteX0" fmla="*/ 23537 w 982199"/>
                  <a:gd name="connsiteY0" fmla="*/ 222138 h 538990"/>
                  <a:gd name="connsiteX1" fmla="*/ 410887 w 982199"/>
                  <a:gd name="connsiteY1" fmla="*/ 18938 h 538990"/>
                  <a:gd name="connsiteX2" fmla="*/ 544237 w 982199"/>
                  <a:gd name="connsiteY2" fmla="*/ 12588 h 538990"/>
                  <a:gd name="connsiteX3" fmla="*/ 930433 w 982199"/>
                  <a:gd name="connsiteY3" fmla="*/ 205601 h 538990"/>
                  <a:gd name="connsiteX4" fmla="*/ 949484 w 982199"/>
                  <a:gd name="connsiteY4" fmla="*/ 312531 h 538990"/>
                  <a:gd name="connsiteX5" fmla="*/ 614087 w 982199"/>
                  <a:gd name="connsiteY5" fmla="*/ 495188 h 538990"/>
                  <a:gd name="connsiteX6" fmla="*/ 448987 w 982199"/>
                  <a:gd name="connsiteY6" fmla="*/ 526938 h 538990"/>
                  <a:gd name="connsiteX7" fmla="*/ 38732 w 982199"/>
                  <a:gd name="connsiteY7" fmla="*/ 307914 h 538990"/>
                  <a:gd name="connsiteX8" fmla="*/ 23537 w 982199"/>
                  <a:gd name="connsiteY8" fmla="*/ 222138 h 538990"/>
                  <a:gd name="connsiteX0" fmla="*/ 23537 w 982199"/>
                  <a:gd name="connsiteY0" fmla="*/ 231191 h 548043"/>
                  <a:gd name="connsiteX1" fmla="*/ 410887 w 982199"/>
                  <a:gd name="connsiteY1" fmla="*/ 27991 h 548043"/>
                  <a:gd name="connsiteX2" fmla="*/ 552931 w 982199"/>
                  <a:gd name="connsiteY2" fmla="*/ 8601 h 548043"/>
                  <a:gd name="connsiteX3" fmla="*/ 930433 w 982199"/>
                  <a:gd name="connsiteY3" fmla="*/ 214654 h 548043"/>
                  <a:gd name="connsiteX4" fmla="*/ 949484 w 982199"/>
                  <a:gd name="connsiteY4" fmla="*/ 321584 h 548043"/>
                  <a:gd name="connsiteX5" fmla="*/ 614087 w 982199"/>
                  <a:gd name="connsiteY5" fmla="*/ 504241 h 548043"/>
                  <a:gd name="connsiteX6" fmla="*/ 448987 w 982199"/>
                  <a:gd name="connsiteY6" fmla="*/ 535991 h 548043"/>
                  <a:gd name="connsiteX7" fmla="*/ 38732 w 982199"/>
                  <a:gd name="connsiteY7" fmla="*/ 316967 h 548043"/>
                  <a:gd name="connsiteX8" fmla="*/ 23537 w 982199"/>
                  <a:gd name="connsiteY8" fmla="*/ 231191 h 548043"/>
                  <a:gd name="connsiteX0" fmla="*/ 23537 w 982199"/>
                  <a:gd name="connsiteY0" fmla="*/ 241943 h 558795"/>
                  <a:gd name="connsiteX1" fmla="*/ 428274 w 982199"/>
                  <a:gd name="connsiteY1" fmla="*/ 12663 h 558795"/>
                  <a:gd name="connsiteX2" fmla="*/ 552931 w 982199"/>
                  <a:gd name="connsiteY2" fmla="*/ 19353 h 558795"/>
                  <a:gd name="connsiteX3" fmla="*/ 930433 w 982199"/>
                  <a:gd name="connsiteY3" fmla="*/ 225406 h 558795"/>
                  <a:gd name="connsiteX4" fmla="*/ 949484 w 982199"/>
                  <a:gd name="connsiteY4" fmla="*/ 332336 h 558795"/>
                  <a:gd name="connsiteX5" fmla="*/ 614087 w 982199"/>
                  <a:gd name="connsiteY5" fmla="*/ 514993 h 558795"/>
                  <a:gd name="connsiteX6" fmla="*/ 448987 w 982199"/>
                  <a:gd name="connsiteY6" fmla="*/ 546743 h 558795"/>
                  <a:gd name="connsiteX7" fmla="*/ 38732 w 982199"/>
                  <a:gd name="connsiteY7" fmla="*/ 327719 h 558795"/>
                  <a:gd name="connsiteX8" fmla="*/ 23537 w 982199"/>
                  <a:gd name="connsiteY8" fmla="*/ 241943 h 558795"/>
                  <a:gd name="connsiteX0" fmla="*/ 23537 w 980850"/>
                  <a:gd name="connsiteY0" fmla="*/ 241943 h 558795"/>
                  <a:gd name="connsiteX1" fmla="*/ 428274 w 980850"/>
                  <a:gd name="connsiteY1" fmla="*/ 12663 h 558795"/>
                  <a:gd name="connsiteX2" fmla="*/ 552931 w 980850"/>
                  <a:gd name="connsiteY2" fmla="*/ 19353 h 558795"/>
                  <a:gd name="connsiteX3" fmla="*/ 930433 w 980850"/>
                  <a:gd name="connsiteY3" fmla="*/ 225406 h 558795"/>
                  <a:gd name="connsiteX4" fmla="*/ 947311 w 980850"/>
                  <a:gd name="connsiteY4" fmla="*/ 323643 h 558795"/>
                  <a:gd name="connsiteX5" fmla="*/ 614087 w 980850"/>
                  <a:gd name="connsiteY5" fmla="*/ 514993 h 558795"/>
                  <a:gd name="connsiteX6" fmla="*/ 448987 w 980850"/>
                  <a:gd name="connsiteY6" fmla="*/ 546743 h 558795"/>
                  <a:gd name="connsiteX7" fmla="*/ 38732 w 980850"/>
                  <a:gd name="connsiteY7" fmla="*/ 327719 h 558795"/>
                  <a:gd name="connsiteX8" fmla="*/ 23537 w 980850"/>
                  <a:gd name="connsiteY8" fmla="*/ 241943 h 558795"/>
                  <a:gd name="connsiteX0" fmla="*/ 23537 w 975406"/>
                  <a:gd name="connsiteY0" fmla="*/ 241943 h 558795"/>
                  <a:gd name="connsiteX1" fmla="*/ 428274 w 975406"/>
                  <a:gd name="connsiteY1" fmla="*/ 12663 h 558795"/>
                  <a:gd name="connsiteX2" fmla="*/ 552931 w 975406"/>
                  <a:gd name="connsiteY2" fmla="*/ 19353 h 558795"/>
                  <a:gd name="connsiteX3" fmla="*/ 930433 w 975406"/>
                  <a:gd name="connsiteY3" fmla="*/ 225406 h 558795"/>
                  <a:gd name="connsiteX4" fmla="*/ 947311 w 975406"/>
                  <a:gd name="connsiteY4" fmla="*/ 323643 h 558795"/>
                  <a:gd name="connsiteX5" fmla="*/ 614087 w 975406"/>
                  <a:gd name="connsiteY5" fmla="*/ 514993 h 558795"/>
                  <a:gd name="connsiteX6" fmla="*/ 448987 w 975406"/>
                  <a:gd name="connsiteY6" fmla="*/ 546743 h 558795"/>
                  <a:gd name="connsiteX7" fmla="*/ 38732 w 975406"/>
                  <a:gd name="connsiteY7" fmla="*/ 327719 h 558795"/>
                  <a:gd name="connsiteX8" fmla="*/ 23537 w 975406"/>
                  <a:gd name="connsiteY8" fmla="*/ 241943 h 558795"/>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406" h="562641">
                    <a:moveTo>
                      <a:pt x="23537" y="245789"/>
                    </a:moveTo>
                    <a:lnTo>
                      <a:pt x="428274" y="16509"/>
                    </a:lnTo>
                    <a:cubicBezTo>
                      <a:pt x="464812" y="-5074"/>
                      <a:pt x="505280" y="-5237"/>
                      <a:pt x="535544" y="14506"/>
                    </a:cubicBezTo>
                    <a:lnTo>
                      <a:pt x="930433" y="229252"/>
                    </a:lnTo>
                    <a:cubicBezTo>
                      <a:pt x="984730" y="258545"/>
                      <a:pt x="989248" y="302543"/>
                      <a:pt x="947311" y="327489"/>
                    </a:cubicBezTo>
                    <a:lnTo>
                      <a:pt x="614087" y="518839"/>
                    </a:lnTo>
                    <a:cubicBezTo>
                      <a:pt x="540420" y="557216"/>
                      <a:pt x="510370" y="576960"/>
                      <a:pt x="448987" y="550589"/>
                    </a:cubicBezTo>
                    <a:lnTo>
                      <a:pt x="38732" y="331565"/>
                    </a:lnTo>
                    <a:cubicBezTo>
                      <a:pt x="-11514" y="305610"/>
                      <a:pt x="-8768" y="263416"/>
                      <a:pt x="23537" y="245789"/>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183" name="Freeform 182"/>
              <p:cNvSpPr/>
              <p:nvPr/>
            </p:nvSpPr>
            <p:spPr bwMode="auto">
              <a:xfrm>
                <a:off x="3332775" y="-757238"/>
                <a:ext cx="974251" cy="561973"/>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78779"/>
                  <a:gd name="connsiteY0" fmla="*/ 222138 h 538990"/>
                  <a:gd name="connsiteX1" fmla="*/ 410887 w 978779"/>
                  <a:gd name="connsiteY1" fmla="*/ 18938 h 538990"/>
                  <a:gd name="connsiteX2" fmla="*/ 544237 w 978779"/>
                  <a:gd name="connsiteY2" fmla="*/ 12588 h 538990"/>
                  <a:gd name="connsiteX3" fmla="*/ 893487 w 978779"/>
                  <a:gd name="connsiteY3" fmla="*/ 190388 h 538990"/>
                  <a:gd name="connsiteX4" fmla="*/ 949484 w 978779"/>
                  <a:gd name="connsiteY4" fmla="*/ 312531 h 538990"/>
                  <a:gd name="connsiteX5" fmla="*/ 614087 w 978779"/>
                  <a:gd name="connsiteY5" fmla="*/ 495188 h 538990"/>
                  <a:gd name="connsiteX6" fmla="*/ 448987 w 978779"/>
                  <a:gd name="connsiteY6" fmla="*/ 526938 h 538990"/>
                  <a:gd name="connsiteX7" fmla="*/ 38732 w 978779"/>
                  <a:gd name="connsiteY7" fmla="*/ 307914 h 538990"/>
                  <a:gd name="connsiteX8" fmla="*/ 23537 w 978779"/>
                  <a:gd name="connsiteY8" fmla="*/ 222138 h 538990"/>
                  <a:gd name="connsiteX0" fmla="*/ 23537 w 992454"/>
                  <a:gd name="connsiteY0" fmla="*/ 222138 h 538990"/>
                  <a:gd name="connsiteX1" fmla="*/ 410887 w 992454"/>
                  <a:gd name="connsiteY1" fmla="*/ 18938 h 538990"/>
                  <a:gd name="connsiteX2" fmla="*/ 544237 w 992454"/>
                  <a:gd name="connsiteY2" fmla="*/ 12588 h 538990"/>
                  <a:gd name="connsiteX3" fmla="*/ 930433 w 992454"/>
                  <a:gd name="connsiteY3" fmla="*/ 205601 h 538990"/>
                  <a:gd name="connsiteX4" fmla="*/ 949484 w 992454"/>
                  <a:gd name="connsiteY4" fmla="*/ 312531 h 538990"/>
                  <a:gd name="connsiteX5" fmla="*/ 614087 w 992454"/>
                  <a:gd name="connsiteY5" fmla="*/ 495188 h 538990"/>
                  <a:gd name="connsiteX6" fmla="*/ 448987 w 992454"/>
                  <a:gd name="connsiteY6" fmla="*/ 526938 h 538990"/>
                  <a:gd name="connsiteX7" fmla="*/ 38732 w 992454"/>
                  <a:gd name="connsiteY7" fmla="*/ 307914 h 538990"/>
                  <a:gd name="connsiteX8" fmla="*/ 23537 w 992454"/>
                  <a:gd name="connsiteY8" fmla="*/ 222138 h 538990"/>
                  <a:gd name="connsiteX0" fmla="*/ 23537 w 983127"/>
                  <a:gd name="connsiteY0" fmla="*/ 222138 h 538990"/>
                  <a:gd name="connsiteX1" fmla="*/ 410887 w 983127"/>
                  <a:gd name="connsiteY1" fmla="*/ 18938 h 538990"/>
                  <a:gd name="connsiteX2" fmla="*/ 544237 w 983127"/>
                  <a:gd name="connsiteY2" fmla="*/ 12588 h 538990"/>
                  <a:gd name="connsiteX3" fmla="*/ 930433 w 983127"/>
                  <a:gd name="connsiteY3" fmla="*/ 205601 h 538990"/>
                  <a:gd name="connsiteX4" fmla="*/ 949484 w 983127"/>
                  <a:gd name="connsiteY4" fmla="*/ 312531 h 538990"/>
                  <a:gd name="connsiteX5" fmla="*/ 614087 w 983127"/>
                  <a:gd name="connsiteY5" fmla="*/ 495188 h 538990"/>
                  <a:gd name="connsiteX6" fmla="*/ 448987 w 983127"/>
                  <a:gd name="connsiteY6" fmla="*/ 526938 h 538990"/>
                  <a:gd name="connsiteX7" fmla="*/ 38732 w 983127"/>
                  <a:gd name="connsiteY7" fmla="*/ 307914 h 538990"/>
                  <a:gd name="connsiteX8" fmla="*/ 23537 w 983127"/>
                  <a:gd name="connsiteY8" fmla="*/ 222138 h 538990"/>
                  <a:gd name="connsiteX0" fmla="*/ 23537 w 982199"/>
                  <a:gd name="connsiteY0" fmla="*/ 222138 h 538990"/>
                  <a:gd name="connsiteX1" fmla="*/ 410887 w 982199"/>
                  <a:gd name="connsiteY1" fmla="*/ 18938 h 538990"/>
                  <a:gd name="connsiteX2" fmla="*/ 544237 w 982199"/>
                  <a:gd name="connsiteY2" fmla="*/ 12588 h 538990"/>
                  <a:gd name="connsiteX3" fmla="*/ 930433 w 982199"/>
                  <a:gd name="connsiteY3" fmla="*/ 205601 h 538990"/>
                  <a:gd name="connsiteX4" fmla="*/ 949484 w 982199"/>
                  <a:gd name="connsiteY4" fmla="*/ 312531 h 538990"/>
                  <a:gd name="connsiteX5" fmla="*/ 614087 w 982199"/>
                  <a:gd name="connsiteY5" fmla="*/ 495188 h 538990"/>
                  <a:gd name="connsiteX6" fmla="*/ 448987 w 982199"/>
                  <a:gd name="connsiteY6" fmla="*/ 526938 h 538990"/>
                  <a:gd name="connsiteX7" fmla="*/ 38732 w 982199"/>
                  <a:gd name="connsiteY7" fmla="*/ 307914 h 538990"/>
                  <a:gd name="connsiteX8" fmla="*/ 23537 w 982199"/>
                  <a:gd name="connsiteY8" fmla="*/ 222138 h 538990"/>
                  <a:gd name="connsiteX0" fmla="*/ 23537 w 982199"/>
                  <a:gd name="connsiteY0" fmla="*/ 231191 h 548043"/>
                  <a:gd name="connsiteX1" fmla="*/ 410887 w 982199"/>
                  <a:gd name="connsiteY1" fmla="*/ 27991 h 548043"/>
                  <a:gd name="connsiteX2" fmla="*/ 552931 w 982199"/>
                  <a:gd name="connsiteY2" fmla="*/ 8601 h 548043"/>
                  <a:gd name="connsiteX3" fmla="*/ 930433 w 982199"/>
                  <a:gd name="connsiteY3" fmla="*/ 214654 h 548043"/>
                  <a:gd name="connsiteX4" fmla="*/ 949484 w 982199"/>
                  <a:gd name="connsiteY4" fmla="*/ 321584 h 548043"/>
                  <a:gd name="connsiteX5" fmla="*/ 614087 w 982199"/>
                  <a:gd name="connsiteY5" fmla="*/ 504241 h 548043"/>
                  <a:gd name="connsiteX6" fmla="*/ 448987 w 982199"/>
                  <a:gd name="connsiteY6" fmla="*/ 535991 h 548043"/>
                  <a:gd name="connsiteX7" fmla="*/ 38732 w 982199"/>
                  <a:gd name="connsiteY7" fmla="*/ 316967 h 548043"/>
                  <a:gd name="connsiteX8" fmla="*/ 23537 w 982199"/>
                  <a:gd name="connsiteY8" fmla="*/ 231191 h 548043"/>
                  <a:gd name="connsiteX0" fmla="*/ 23537 w 982199"/>
                  <a:gd name="connsiteY0" fmla="*/ 241943 h 558795"/>
                  <a:gd name="connsiteX1" fmla="*/ 428274 w 982199"/>
                  <a:gd name="connsiteY1" fmla="*/ 12663 h 558795"/>
                  <a:gd name="connsiteX2" fmla="*/ 552931 w 982199"/>
                  <a:gd name="connsiteY2" fmla="*/ 19353 h 558795"/>
                  <a:gd name="connsiteX3" fmla="*/ 930433 w 982199"/>
                  <a:gd name="connsiteY3" fmla="*/ 225406 h 558795"/>
                  <a:gd name="connsiteX4" fmla="*/ 949484 w 982199"/>
                  <a:gd name="connsiteY4" fmla="*/ 332336 h 558795"/>
                  <a:gd name="connsiteX5" fmla="*/ 614087 w 982199"/>
                  <a:gd name="connsiteY5" fmla="*/ 514993 h 558795"/>
                  <a:gd name="connsiteX6" fmla="*/ 448987 w 982199"/>
                  <a:gd name="connsiteY6" fmla="*/ 546743 h 558795"/>
                  <a:gd name="connsiteX7" fmla="*/ 38732 w 982199"/>
                  <a:gd name="connsiteY7" fmla="*/ 327719 h 558795"/>
                  <a:gd name="connsiteX8" fmla="*/ 23537 w 982199"/>
                  <a:gd name="connsiteY8" fmla="*/ 241943 h 558795"/>
                  <a:gd name="connsiteX0" fmla="*/ 23537 w 980850"/>
                  <a:gd name="connsiteY0" fmla="*/ 241943 h 558795"/>
                  <a:gd name="connsiteX1" fmla="*/ 428274 w 980850"/>
                  <a:gd name="connsiteY1" fmla="*/ 12663 h 558795"/>
                  <a:gd name="connsiteX2" fmla="*/ 552931 w 980850"/>
                  <a:gd name="connsiteY2" fmla="*/ 19353 h 558795"/>
                  <a:gd name="connsiteX3" fmla="*/ 930433 w 980850"/>
                  <a:gd name="connsiteY3" fmla="*/ 225406 h 558795"/>
                  <a:gd name="connsiteX4" fmla="*/ 947311 w 980850"/>
                  <a:gd name="connsiteY4" fmla="*/ 323643 h 558795"/>
                  <a:gd name="connsiteX5" fmla="*/ 614087 w 980850"/>
                  <a:gd name="connsiteY5" fmla="*/ 514993 h 558795"/>
                  <a:gd name="connsiteX6" fmla="*/ 448987 w 980850"/>
                  <a:gd name="connsiteY6" fmla="*/ 546743 h 558795"/>
                  <a:gd name="connsiteX7" fmla="*/ 38732 w 980850"/>
                  <a:gd name="connsiteY7" fmla="*/ 327719 h 558795"/>
                  <a:gd name="connsiteX8" fmla="*/ 23537 w 980850"/>
                  <a:gd name="connsiteY8" fmla="*/ 241943 h 558795"/>
                  <a:gd name="connsiteX0" fmla="*/ 23537 w 975406"/>
                  <a:gd name="connsiteY0" fmla="*/ 241943 h 558795"/>
                  <a:gd name="connsiteX1" fmla="*/ 428274 w 975406"/>
                  <a:gd name="connsiteY1" fmla="*/ 12663 h 558795"/>
                  <a:gd name="connsiteX2" fmla="*/ 552931 w 975406"/>
                  <a:gd name="connsiteY2" fmla="*/ 19353 h 558795"/>
                  <a:gd name="connsiteX3" fmla="*/ 930433 w 975406"/>
                  <a:gd name="connsiteY3" fmla="*/ 225406 h 558795"/>
                  <a:gd name="connsiteX4" fmla="*/ 947311 w 975406"/>
                  <a:gd name="connsiteY4" fmla="*/ 323643 h 558795"/>
                  <a:gd name="connsiteX5" fmla="*/ 614087 w 975406"/>
                  <a:gd name="connsiteY5" fmla="*/ 514993 h 558795"/>
                  <a:gd name="connsiteX6" fmla="*/ 448987 w 975406"/>
                  <a:gd name="connsiteY6" fmla="*/ 546743 h 558795"/>
                  <a:gd name="connsiteX7" fmla="*/ 38732 w 975406"/>
                  <a:gd name="connsiteY7" fmla="*/ 327719 h 558795"/>
                  <a:gd name="connsiteX8" fmla="*/ 23537 w 975406"/>
                  <a:gd name="connsiteY8" fmla="*/ 241943 h 558795"/>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406" h="562641">
                    <a:moveTo>
                      <a:pt x="23537" y="245789"/>
                    </a:moveTo>
                    <a:lnTo>
                      <a:pt x="428274" y="16509"/>
                    </a:lnTo>
                    <a:cubicBezTo>
                      <a:pt x="464812" y="-5074"/>
                      <a:pt x="505280" y="-5237"/>
                      <a:pt x="535544" y="14506"/>
                    </a:cubicBezTo>
                    <a:lnTo>
                      <a:pt x="930433" y="229252"/>
                    </a:lnTo>
                    <a:cubicBezTo>
                      <a:pt x="984730" y="258545"/>
                      <a:pt x="989248" y="302543"/>
                      <a:pt x="947311" y="327489"/>
                    </a:cubicBezTo>
                    <a:lnTo>
                      <a:pt x="614087" y="518839"/>
                    </a:lnTo>
                    <a:cubicBezTo>
                      <a:pt x="540420" y="557216"/>
                      <a:pt x="510370" y="576960"/>
                      <a:pt x="448987" y="550589"/>
                    </a:cubicBezTo>
                    <a:lnTo>
                      <a:pt x="38732" y="331565"/>
                    </a:lnTo>
                    <a:cubicBezTo>
                      <a:pt x="-11514" y="305610"/>
                      <a:pt x="-8768" y="263416"/>
                      <a:pt x="23537" y="245789"/>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184" name="Freeform 183"/>
              <p:cNvSpPr/>
              <p:nvPr/>
            </p:nvSpPr>
            <p:spPr bwMode="auto">
              <a:xfrm>
                <a:off x="2699363" y="-390526"/>
                <a:ext cx="974251" cy="561973"/>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78779"/>
                  <a:gd name="connsiteY0" fmla="*/ 222138 h 538990"/>
                  <a:gd name="connsiteX1" fmla="*/ 410887 w 978779"/>
                  <a:gd name="connsiteY1" fmla="*/ 18938 h 538990"/>
                  <a:gd name="connsiteX2" fmla="*/ 544237 w 978779"/>
                  <a:gd name="connsiteY2" fmla="*/ 12588 h 538990"/>
                  <a:gd name="connsiteX3" fmla="*/ 893487 w 978779"/>
                  <a:gd name="connsiteY3" fmla="*/ 190388 h 538990"/>
                  <a:gd name="connsiteX4" fmla="*/ 949484 w 978779"/>
                  <a:gd name="connsiteY4" fmla="*/ 312531 h 538990"/>
                  <a:gd name="connsiteX5" fmla="*/ 614087 w 978779"/>
                  <a:gd name="connsiteY5" fmla="*/ 495188 h 538990"/>
                  <a:gd name="connsiteX6" fmla="*/ 448987 w 978779"/>
                  <a:gd name="connsiteY6" fmla="*/ 526938 h 538990"/>
                  <a:gd name="connsiteX7" fmla="*/ 38732 w 978779"/>
                  <a:gd name="connsiteY7" fmla="*/ 307914 h 538990"/>
                  <a:gd name="connsiteX8" fmla="*/ 23537 w 978779"/>
                  <a:gd name="connsiteY8" fmla="*/ 222138 h 538990"/>
                  <a:gd name="connsiteX0" fmla="*/ 23537 w 992454"/>
                  <a:gd name="connsiteY0" fmla="*/ 222138 h 538990"/>
                  <a:gd name="connsiteX1" fmla="*/ 410887 w 992454"/>
                  <a:gd name="connsiteY1" fmla="*/ 18938 h 538990"/>
                  <a:gd name="connsiteX2" fmla="*/ 544237 w 992454"/>
                  <a:gd name="connsiteY2" fmla="*/ 12588 h 538990"/>
                  <a:gd name="connsiteX3" fmla="*/ 930433 w 992454"/>
                  <a:gd name="connsiteY3" fmla="*/ 205601 h 538990"/>
                  <a:gd name="connsiteX4" fmla="*/ 949484 w 992454"/>
                  <a:gd name="connsiteY4" fmla="*/ 312531 h 538990"/>
                  <a:gd name="connsiteX5" fmla="*/ 614087 w 992454"/>
                  <a:gd name="connsiteY5" fmla="*/ 495188 h 538990"/>
                  <a:gd name="connsiteX6" fmla="*/ 448987 w 992454"/>
                  <a:gd name="connsiteY6" fmla="*/ 526938 h 538990"/>
                  <a:gd name="connsiteX7" fmla="*/ 38732 w 992454"/>
                  <a:gd name="connsiteY7" fmla="*/ 307914 h 538990"/>
                  <a:gd name="connsiteX8" fmla="*/ 23537 w 992454"/>
                  <a:gd name="connsiteY8" fmla="*/ 222138 h 538990"/>
                  <a:gd name="connsiteX0" fmla="*/ 23537 w 983127"/>
                  <a:gd name="connsiteY0" fmla="*/ 222138 h 538990"/>
                  <a:gd name="connsiteX1" fmla="*/ 410887 w 983127"/>
                  <a:gd name="connsiteY1" fmla="*/ 18938 h 538990"/>
                  <a:gd name="connsiteX2" fmla="*/ 544237 w 983127"/>
                  <a:gd name="connsiteY2" fmla="*/ 12588 h 538990"/>
                  <a:gd name="connsiteX3" fmla="*/ 930433 w 983127"/>
                  <a:gd name="connsiteY3" fmla="*/ 205601 h 538990"/>
                  <a:gd name="connsiteX4" fmla="*/ 949484 w 983127"/>
                  <a:gd name="connsiteY4" fmla="*/ 312531 h 538990"/>
                  <a:gd name="connsiteX5" fmla="*/ 614087 w 983127"/>
                  <a:gd name="connsiteY5" fmla="*/ 495188 h 538990"/>
                  <a:gd name="connsiteX6" fmla="*/ 448987 w 983127"/>
                  <a:gd name="connsiteY6" fmla="*/ 526938 h 538990"/>
                  <a:gd name="connsiteX7" fmla="*/ 38732 w 983127"/>
                  <a:gd name="connsiteY7" fmla="*/ 307914 h 538990"/>
                  <a:gd name="connsiteX8" fmla="*/ 23537 w 983127"/>
                  <a:gd name="connsiteY8" fmla="*/ 222138 h 538990"/>
                  <a:gd name="connsiteX0" fmla="*/ 23537 w 982199"/>
                  <a:gd name="connsiteY0" fmla="*/ 222138 h 538990"/>
                  <a:gd name="connsiteX1" fmla="*/ 410887 w 982199"/>
                  <a:gd name="connsiteY1" fmla="*/ 18938 h 538990"/>
                  <a:gd name="connsiteX2" fmla="*/ 544237 w 982199"/>
                  <a:gd name="connsiteY2" fmla="*/ 12588 h 538990"/>
                  <a:gd name="connsiteX3" fmla="*/ 930433 w 982199"/>
                  <a:gd name="connsiteY3" fmla="*/ 205601 h 538990"/>
                  <a:gd name="connsiteX4" fmla="*/ 949484 w 982199"/>
                  <a:gd name="connsiteY4" fmla="*/ 312531 h 538990"/>
                  <a:gd name="connsiteX5" fmla="*/ 614087 w 982199"/>
                  <a:gd name="connsiteY5" fmla="*/ 495188 h 538990"/>
                  <a:gd name="connsiteX6" fmla="*/ 448987 w 982199"/>
                  <a:gd name="connsiteY6" fmla="*/ 526938 h 538990"/>
                  <a:gd name="connsiteX7" fmla="*/ 38732 w 982199"/>
                  <a:gd name="connsiteY7" fmla="*/ 307914 h 538990"/>
                  <a:gd name="connsiteX8" fmla="*/ 23537 w 982199"/>
                  <a:gd name="connsiteY8" fmla="*/ 222138 h 538990"/>
                  <a:gd name="connsiteX0" fmla="*/ 23537 w 982199"/>
                  <a:gd name="connsiteY0" fmla="*/ 231191 h 548043"/>
                  <a:gd name="connsiteX1" fmla="*/ 410887 w 982199"/>
                  <a:gd name="connsiteY1" fmla="*/ 27991 h 548043"/>
                  <a:gd name="connsiteX2" fmla="*/ 552931 w 982199"/>
                  <a:gd name="connsiteY2" fmla="*/ 8601 h 548043"/>
                  <a:gd name="connsiteX3" fmla="*/ 930433 w 982199"/>
                  <a:gd name="connsiteY3" fmla="*/ 214654 h 548043"/>
                  <a:gd name="connsiteX4" fmla="*/ 949484 w 982199"/>
                  <a:gd name="connsiteY4" fmla="*/ 321584 h 548043"/>
                  <a:gd name="connsiteX5" fmla="*/ 614087 w 982199"/>
                  <a:gd name="connsiteY5" fmla="*/ 504241 h 548043"/>
                  <a:gd name="connsiteX6" fmla="*/ 448987 w 982199"/>
                  <a:gd name="connsiteY6" fmla="*/ 535991 h 548043"/>
                  <a:gd name="connsiteX7" fmla="*/ 38732 w 982199"/>
                  <a:gd name="connsiteY7" fmla="*/ 316967 h 548043"/>
                  <a:gd name="connsiteX8" fmla="*/ 23537 w 982199"/>
                  <a:gd name="connsiteY8" fmla="*/ 231191 h 548043"/>
                  <a:gd name="connsiteX0" fmla="*/ 23537 w 982199"/>
                  <a:gd name="connsiteY0" fmla="*/ 241943 h 558795"/>
                  <a:gd name="connsiteX1" fmla="*/ 428274 w 982199"/>
                  <a:gd name="connsiteY1" fmla="*/ 12663 h 558795"/>
                  <a:gd name="connsiteX2" fmla="*/ 552931 w 982199"/>
                  <a:gd name="connsiteY2" fmla="*/ 19353 h 558795"/>
                  <a:gd name="connsiteX3" fmla="*/ 930433 w 982199"/>
                  <a:gd name="connsiteY3" fmla="*/ 225406 h 558795"/>
                  <a:gd name="connsiteX4" fmla="*/ 949484 w 982199"/>
                  <a:gd name="connsiteY4" fmla="*/ 332336 h 558795"/>
                  <a:gd name="connsiteX5" fmla="*/ 614087 w 982199"/>
                  <a:gd name="connsiteY5" fmla="*/ 514993 h 558795"/>
                  <a:gd name="connsiteX6" fmla="*/ 448987 w 982199"/>
                  <a:gd name="connsiteY6" fmla="*/ 546743 h 558795"/>
                  <a:gd name="connsiteX7" fmla="*/ 38732 w 982199"/>
                  <a:gd name="connsiteY7" fmla="*/ 327719 h 558795"/>
                  <a:gd name="connsiteX8" fmla="*/ 23537 w 982199"/>
                  <a:gd name="connsiteY8" fmla="*/ 241943 h 558795"/>
                  <a:gd name="connsiteX0" fmla="*/ 23537 w 980850"/>
                  <a:gd name="connsiteY0" fmla="*/ 241943 h 558795"/>
                  <a:gd name="connsiteX1" fmla="*/ 428274 w 980850"/>
                  <a:gd name="connsiteY1" fmla="*/ 12663 h 558795"/>
                  <a:gd name="connsiteX2" fmla="*/ 552931 w 980850"/>
                  <a:gd name="connsiteY2" fmla="*/ 19353 h 558795"/>
                  <a:gd name="connsiteX3" fmla="*/ 930433 w 980850"/>
                  <a:gd name="connsiteY3" fmla="*/ 225406 h 558795"/>
                  <a:gd name="connsiteX4" fmla="*/ 947311 w 980850"/>
                  <a:gd name="connsiteY4" fmla="*/ 323643 h 558795"/>
                  <a:gd name="connsiteX5" fmla="*/ 614087 w 980850"/>
                  <a:gd name="connsiteY5" fmla="*/ 514993 h 558795"/>
                  <a:gd name="connsiteX6" fmla="*/ 448987 w 980850"/>
                  <a:gd name="connsiteY6" fmla="*/ 546743 h 558795"/>
                  <a:gd name="connsiteX7" fmla="*/ 38732 w 980850"/>
                  <a:gd name="connsiteY7" fmla="*/ 327719 h 558795"/>
                  <a:gd name="connsiteX8" fmla="*/ 23537 w 980850"/>
                  <a:gd name="connsiteY8" fmla="*/ 241943 h 558795"/>
                  <a:gd name="connsiteX0" fmla="*/ 23537 w 975406"/>
                  <a:gd name="connsiteY0" fmla="*/ 241943 h 558795"/>
                  <a:gd name="connsiteX1" fmla="*/ 428274 w 975406"/>
                  <a:gd name="connsiteY1" fmla="*/ 12663 h 558795"/>
                  <a:gd name="connsiteX2" fmla="*/ 552931 w 975406"/>
                  <a:gd name="connsiteY2" fmla="*/ 19353 h 558795"/>
                  <a:gd name="connsiteX3" fmla="*/ 930433 w 975406"/>
                  <a:gd name="connsiteY3" fmla="*/ 225406 h 558795"/>
                  <a:gd name="connsiteX4" fmla="*/ 947311 w 975406"/>
                  <a:gd name="connsiteY4" fmla="*/ 323643 h 558795"/>
                  <a:gd name="connsiteX5" fmla="*/ 614087 w 975406"/>
                  <a:gd name="connsiteY5" fmla="*/ 514993 h 558795"/>
                  <a:gd name="connsiteX6" fmla="*/ 448987 w 975406"/>
                  <a:gd name="connsiteY6" fmla="*/ 546743 h 558795"/>
                  <a:gd name="connsiteX7" fmla="*/ 38732 w 975406"/>
                  <a:gd name="connsiteY7" fmla="*/ 327719 h 558795"/>
                  <a:gd name="connsiteX8" fmla="*/ 23537 w 975406"/>
                  <a:gd name="connsiteY8" fmla="*/ 241943 h 558795"/>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406" h="562641">
                    <a:moveTo>
                      <a:pt x="23537" y="245789"/>
                    </a:moveTo>
                    <a:lnTo>
                      <a:pt x="428274" y="16509"/>
                    </a:lnTo>
                    <a:cubicBezTo>
                      <a:pt x="464812" y="-5074"/>
                      <a:pt x="505280" y="-5237"/>
                      <a:pt x="535544" y="14506"/>
                    </a:cubicBezTo>
                    <a:lnTo>
                      <a:pt x="930433" y="229252"/>
                    </a:lnTo>
                    <a:cubicBezTo>
                      <a:pt x="984730" y="258545"/>
                      <a:pt x="989248" y="302543"/>
                      <a:pt x="947311" y="327489"/>
                    </a:cubicBezTo>
                    <a:lnTo>
                      <a:pt x="614087" y="518839"/>
                    </a:lnTo>
                    <a:cubicBezTo>
                      <a:pt x="540420" y="557216"/>
                      <a:pt x="510370" y="576960"/>
                      <a:pt x="448987" y="550589"/>
                    </a:cubicBezTo>
                    <a:lnTo>
                      <a:pt x="38732" y="331565"/>
                    </a:lnTo>
                    <a:cubicBezTo>
                      <a:pt x="-11514" y="305610"/>
                      <a:pt x="-8768" y="263416"/>
                      <a:pt x="23537" y="245789"/>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sp>
            <p:nvSpPr>
              <p:cNvPr id="185" name="Freeform 184"/>
              <p:cNvSpPr/>
              <p:nvPr/>
            </p:nvSpPr>
            <p:spPr bwMode="auto">
              <a:xfrm>
                <a:off x="2065951" y="-19050"/>
                <a:ext cx="974251" cy="561973"/>
              </a:xfrm>
              <a:custGeom>
                <a:avLst/>
                <a:gdLst>
                  <a:gd name="connsiteX0" fmla="*/ 0 w 889000"/>
                  <a:gd name="connsiteY0" fmla="*/ 209550 h 514350"/>
                  <a:gd name="connsiteX1" fmla="*/ 387350 w 889000"/>
                  <a:gd name="connsiteY1" fmla="*/ 6350 h 514350"/>
                  <a:gd name="connsiteX2" fmla="*/ 520700 w 889000"/>
                  <a:gd name="connsiteY2" fmla="*/ 0 h 514350"/>
                  <a:gd name="connsiteX3" fmla="*/ 869950 w 889000"/>
                  <a:gd name="connsiteY3" fmla="*/ 177800 h 514350"/>
                  <a:gd name="connsiteX4" fmla="*/ 889000 w 889000"/>
                  <a:gd name="connsiteY4" fmla="*/ 323850 h 514350"/>
                  <a:gd name="connsiteX5" fmla="*/ 590550 w 889000"/>
                  <a:gd name="connsiteY5" fmla="*/ 482600 h 514350"/>
                  <a:gd name="connsiteX6" fmla="*/ 425450 w 889000"/>
                  <a:gd name="connsiteY6" fmla="*/ 514350 h 514350"/>
                  <a:gd name="connsiteX7" fmla="*/ 50800 w 889000"/>
                  <a:gd name="connsiteY7" fmla="*/ 311150 h 514350"/>
                  <a:gd name="connsiteX8" fmla="*/ 0 w 889000"/>
                  <a:gd name="connsiteY8" fmla="*/ 209550 h 514350"/>
                  <a:gd name="connsiteX0" fmla="*/ 0 w 911326"/>
                  <a:gd name="connsiteY0" fmla="*/ 209550 h 514350"/>
                  <a:gd name="connsiteX1" fmla="*/ 387350 w 911326"/>
                  <a:gd name="connsiteY1" fmla="*/ 6350 h 514350"/>
                  <a:gd name="connsiteX2" fmla="*/ 520700 w 911326"/>
                  <a:gd name="connsiteY2" fmla="*/ 0 h 514350"/>
                  <a:gd name="connsiteX3" fmla="*/ 869950 w 911326"/>
                  <a:gd name="connsiteY3" fmla="*/ 177800 h 514350"/>
                  <a:gd name="connsiteX4" fmla="*/ 889000 w 911326"/>
                  <a:gd name="connsiteY4" fmla="*/ 323850 h 514350"/>
                  <a:gd name="connsiteX5" fmla="*/ 590550 w 911326"/>
                  <a:gd name="connsiteY5" fmla="*/ 482600 h 514350"/>
                  <a:gd name="connsiteX6" fmla="*/ 425450 w 911326"/>
                  <a:gd name="connsiteY6" fmla="*/ 514350 h 514350"/>
                  <a:gd name="connsiteX7" fmla="*/ 50800 w 911326"/>
                  <a:gd name="connsiteY7" fmla="*/ 311150 h 514350"/>
                  <a:gd name="connsiteX8" fmla="*/ 0 w 911326"/>
                  <a:gd name="connsiteY8" fmla="*/ 209550 h 514350"/>
                  <a:gd name="connsiteX0" fmla="*/ 0 w 931971"/>
                  <a:gd name="connsiteY0" fmla="*/ 209550 h 514350"/>
                  <a:gd name="connsiteX1" fmla="*/ 387350 w 931971"/>
                  <a:gd name="connsiteY1" fmla="*/ 6350 h 514350"/>
                  <a:gd name="connsiteX2" fmla="*/ 520700 w 931971"/>
                  <a:gd name="connsiteY2" fmla="*/ 0 h 514350"/>
                  <a:gd name="connsiteX3" fmla="*/ 869950 w 931971"/>
                  <a:gd name="connsiteY3" fmla="*/ 177800 h 514350"/>
                  <a:gd name="connsiteX4" fmla="*/ 889000 w 931971"/>
                  <a:gd name="connsiteY4" fmla="*/ 323850 h 514350"/>
                  <a:gd name="connsiteX5" fmla="*/ 590550 w 931971"/>
                  <a:gd name="connsiteY5" fmla="*/ 482600 h 514350"/>
                  <a:gd name="connsiteX6" fmla="*/ 425450 w 931971"/>
                  <a:gd name="connsiteY6" fmla="*/ 514350 h 514350"/>
                  <a:gd name="connsiteX7" fmla="*/ 50800 w 931971"/>
                  <a:gd name="connsiteY7" fmla="*/ 311150 h 514350"/>
                  <a:gd name="connsiteX8" fmla="*/ 0 w 931971"/>
                  <a:gd name="connsiteY8" fmla="*/ 209550 h 514350"/>
                  <a:gd name="connsiteX0" fmla="*/ 0 w 931971"/>
                  <a:gd name="connsiteY0" fmla="*/ 221646 h 526446"/>
                  <a:gd name="connsiteX1" fmla="*/ 387350 w 931971"/>
                  <a:gd name="connsiteY1" fmla="*/ 18446 h 526446"/>
                  <a:gd name="connsiteX2" fmla="*/ 520700 w 931971"/>
                  <a:gd name="connsiteY2" fmla="*/ 12096 h 526446"/>
                  <a:gd name="connsiteX3" fmla="*/ 869950 w 931971"/>
                  <a:gd name="connsiteY3" fmla="*/ 189896 h 526446"/>
                  <a:gd name="connsiteX4" fmla="*/ 889000 w 931971"/>
                  <a:gd name="connsiteY4" fmla="*/ 335946 h 526446"/>
                  <a:gd name="connsiteX5" fmla="*/ 590550 w 931971"/>
                  <a:gd name="connsiteY5" fmla="*/ 494696 h 526446"/>
                  <a:gd name="connsiteX6" fmla="*/ 425450 w 931971"/>
                  <a:gd name="connsiteY6" fmla="*/ 526446 h 526446"/>
                  <a:gd name="connsiteX7" fmla="*/ 50800 w 931971"/>
                  <a:gd name="connsiteY7" fmla="*/ 323246 h 526446"/>
                  <a:gd name="connsiteX8" fmla="*/ 0 w 931971"/>
                  <a:gd name="connsiteY8" fmla="*/ 221646 h 526446"/>
                  <a:gd name="connsiteX0" fmla="*/ 0 w 931971"/>
                  <a:gd name="connsiteY0" fmla="*/ 228161 h 532961"/>
                  <a:gd name="connsiteX1" fmla="*/ 387350 w 931971"/>
                  <a:gd name="connsiteY1" fmla="*/ 24961 h 532961"/>
                  <a:gd name="connsiteX2" fmla="*/ 520700 w 931971"/>
                  <a:gd name="connsiteY2" fmla="*/ 18611 h 532961"/>
                  <a:gd name="connsiteX3" fmla="*/ 869950 w 931971"/>
                  <a:gd name="connsiteY3" fmla="*/ 196411 h 532961"/>
                  <a:gd name="connsiteX4" fmla="*/ 889000 w 931971"/>
                  <a:gd name="connsiteY4" fmla="*/ 342461 h 532961"/>
                  <a:gd name="connsiteX5" fmla="*/ 590550 w 931971"/>
                  <a:gd name="connsiteY5" fmla="*/ 501211 h 532961"/>
                  <a:gd name="connsiteX6" fmla="*/ 425450 w 931971"/>
                  <a:gd name="connsiteY6" fmla="*/ 532961 h 532961"/>
                  <a:gd name="connsiteX7" fmla="*/ 50800 w 931971"/>
                  <a:gd name="connsiteY7" fmla="*/ 329761 h 532961"/>
                  <a:gd name="connsiteX8" fmla="*/ 0 w 931971"/>
                  <a:gd name="connsiteY8" fmla="*/ 228161 h 532961"/>
                  <a:gd name="connsiteX0" fmla="*/ 11803 w 943774"/>
                  <a:gd name="connsiteY0" fmla="*/ 228161 h 532961"/>
                  <a:gd name="connsiteX1" fmla="*/ 399153 w 943774"/>
                  <a:gd name="connsiteY1" fmla="*/ 24961 h 532961"/>
                  <a:gd name="connsiteX2" fmla="*/ 532503 w 943774"/>
                  <a:gd name="connsiteY2" fmla="*/ 18611 h 532961"/>
                  <a:gd name="connsiteX3" fmla="*/ 881753 w 943774"/>
                  <a:gd name="connsiteY3" fmla="*/ 196411 h 532961"/>
                  <a:gd name="connsiteX4" fmla="*/ 900803 w 943774"/>
                  <a:gd name="connsiteY4" fmla="*/ 342461 h 532961"/>
                  <a:gd name="connsiteX5" fmla="*/ 602353 w 943774"/>
                  <a:gd name="connsiteY5" fmla="*/ 501211 h 532961"/>
                  <a:gd name="connsiteX6" fmla="*/ 437253 w 943774"/>
                  <a:gd name="connsiteY6" fmla="*/ 532961 h 532961"/>
                  <a:gd name="connsiteX7" fmla="*/ 62603 w 943774"/>
                  <a:gd name="connsiteY7" fmla="*/ 329761 h 532961"/>
                  <a:gd name="connsiteX8" fmla="*/ 11803 w 943774"/>
                  <a:gd name="connsiteY8" fmla="*/ 228161 h 532961"/>
                  <a:gd name="connsiteX0" fmla="*/ 15016 w 946987"/>
                  <a:gd name="connsiteY0" fmla="*/ 228161 h 532961"/>
                  <a:gd name="connsiteX1" fmla="*/ 402366 w 946987"/>
                  <a:gd name="connsiteY1" fmla="*/ 24961 h 532961"/>
                  <a:gd name="connsiteX2" fmla="*/ 535716 w 946987"/>
                  <a:gd name="connsiteY2" fmla="*/ 18611 h 532961"/>
                  <a:gd name="connsiteX3" fmla="*/ 884966 w 946987"/>
                  <a:gd name="connsiteY3" fmla="*/ 196411 h 532961"/>
                  <a:gd name="connsiteX4" fmla="*/ 904016 w 946987"/>
                  <a:gd name="connsiteY4" fmla="*/ 342461 h 532961"/>
                  <a:gd name="connsiteX5" fmla="*/ 605566 w 946987"/>
                  <a:gd name="connsiteY5" fmla="*/ 501211 h 532961"/>
                  <a:gd name="connsiteX6" fmla="*/ 440466 w 946987"/>
                  <a:gd name="connsiteY6" fmla="*/ 532961 h 532961"/>
                  <a:gd name="connsiteX7" fmla="*/ 65816 w 946987"/>
                  <a:gd name="connsiteY7" fmla="*/ 329761 h 532961"/>
                  <a:gd name="connsiteX8" fmla="*/ 15016 w 946987"/>
                  <a:gd name="connsiteY8" fmla="*/ 228161 h 532961"/>
                  <a:gd name="connsiteX0" fmla="*/ 15016 w 946987"/>
                  <a:gd name="connsiteY0" fmla="*/ 228161 h 546467"/>
                  <a:gd name="connsiteX1" fmla="*/ 402366 w 946987"/>
                  <a:gd name="connsiteY1" fmla="*/ 24961 h 546467"/>
                  <a:gd name="connsiteX2" fmla="*/ 535716 w 946987"/>
                  <a:gd name="connsiteY2" fmla="*/ 18611 h 546467"/>
                  <a:gd name="connsiteX3" fmla="*/ 884966 w 946987"/>
                  <a:gd name="connsiteY3" fmla="*/ 196411 h 546467"/>
                  <a:gd name="connsiteX4" fmla="*/ 904016 w 946987"/>
                  <a:gd name="connsiteY4" fmla="*/ 342461 h 546467"/>
                  <a:gd name="connsiteX5" fmla="*/ 605566 w 946987"/>
                  <a:gd name="connsiteY5" fmla="*/ 501211 h 546467"/>
                  <a:gd name="connsiteX6" fmla="*/ 440466 w 946987"/>
                  <a:gd name="connsiteY6" fmla="*/ 532961 h 546467"/>
                  <a:gd name="connsiteX7" fmla="*/ 65816 w 946987"/>
                  <a:gd name="connsiteY7" fmla="*/ 329761 h 546467"/>
                  <a:gd name="connsiteX8" fmla="*/ 15016 w 946987"/>
                  <a:gd name="connsiteY8" fmla="*/ 228161 h 546467"/>
                  <a:gd name="connsiteX0" fmla="*/ 15016 w 946987"/>
                  <a:gd name="connsiteY0" fmla="*/ 228161 h 552011"/>
                  <a:gd name="connsiteX1" fmla="*/ 402366 w 946987"/>
                  <a:gd name="connsiteY1" fmla="*/ 24961 h 552011"/>
                  <a:gd name="connsiteX2" fmla="*/ 535716 w 946987"/>
                  <a:gd name="connsiteY2" fmla="*/ 18611 h 552011"/>
                  <a:gd name="connsiteX3" fmla="*/ 884966 w 946987"/>
                  <a:gd name="connsiteY3" fmla="*/ 196411 h 552011"/>
                  <a:gd name="connsiteX4" fmla="*/ 904016 w 946987"/>
                  <a:gd name="connsiteY4" fmla="*/ 342461 h 552011"/>
                  <a:gd name="connsiteX5" fmla="*/ 605566 w 946987"/>
                  <a:gd name="connsiteY5" fmla="*/ 501211 h 552011"/>
                  <a:gd name="connsiteX6" fmla="*/ 440466 w 946987"/>
                  <a:gd name="connsiteY6" fmla="*/ 532961 h 552011"/>
                  <a:gd name="connsiteX7" fmla="*/ 65816 w 946987"/>
                  <a:gd name="connsiteY7" fmla="*/ 329761 h 552011"/>
                  <a:gd name="connsiteX8" fmla="*/ 15016 w 946987"/>
                  <a:gd name="connsiteY8" fmla="*/ 228161 h 552011"/>
                  <a:gd name="connsiteX0" fmla="*/ 15016 w 946987"/>
                  <a:gd name="connsiteY0" fmla="*/ 228161 h 545857"/>
                  <a:gd name="connsiteX1" fmla="*/ 402366 w 946987"/>
                  <a:gd name="connsiteY1" fmla="*/ 24961 h 545857"/>
                  <a:gd name="connsiteX2" fmla="*/ 535716 w 946987"/>
                  <a:gd name="connsiteY2" fmla="*/ 18611 h 545857"/>
                  <a:gd name="connsiteX3" fmla="*/ 884966 w 946987"/>
                  <a:gd name="connsiteY3" fmla="*/ 196411 h 545857"/>
                  <a:gd name="connsiteX4" fmla="*/ 904016 w 946987"/>
                  <a:gd name="connsiteY4" fmla="*/ 342461 h 545857"/>
                  <a:gd name="connsiteX5" fmla="*/ 605566 w 946987"/>
                  <a:gd name="connsiteY5" fmla="*/ 501211 h 545857"/>
                  <a:gd name="connsiteX6" fmla="*/ 440466 w 946987"/>
                  <a:gd name="connsiteY6" fmla="*/ 532961 h 545857"/>
                  <a:gd name="connsiteX7" fmla="*/ 65816 w 946987"/>
                  <a:gd name="connsiteY7" fmla="*/ 329761 h 545857"/>
                  <a:gd name="connsiteX8" fmla="*/ 15016 w 946987"/>
                  <a:gd name="connsiteY8" fmla="*/ 228161 h 545857"/>
                  <a:gd name="connsiteX0" fmla="*/ 15016 w 946987"/>
                  <a:gd name="connsiteY0" fmla="*/ 228161 h 545013"/>
                  <a:gd name="connsiteX1" fmla="*/ 402366 w 946987"/>
                  <a:gd name="connsiteY1" fmla="*/ 24961 h 545013"/>
                  <a:gd name="connsiteX2" fmla="*/ 535716 w 946987"/>
                  <a:gd name="connsiteY2" fmla="*/ 18611 h 545013"/>
                  <a:gd name="connsiteX3" fmla="*/ 884966 w 946987"/>
                  <a:gd name="connsiteY3" fmla="*/ 196411 h 545013"/>
                  <a:gd name="connsiteX4" fmla="*/ 904016 w 946987"/>
                  <a:gd name="connsiteY4" fmla="*/ 342461 h 545013"/>
                  <a:gd name="connsiteX5" fmla="*/ 605566 w 946987"/>
                  <a:gd name="connsiteY5" fmla="*/ 501211 h 545013"/>
                  <a:gd name="connsiteX6" fmla="*/ 440466 w 946987"/>
                  <a:gd name="connsiteY6" fmla="*/ 532961 h 545013"/>
                  <a:gd name="connsiteX7" fmla="*/ 65816 w 946987"/>
                  <a:gd name="connsiteY7" fmla="*/ 329761 h 545013"/>
                  <a:gd name="connsiteX8" fmla="*/ 15016 w 946987"/>
                  <a:gd name="connsiteY8" fmla="*/ 228161 h 545013"/>
                  <a:gd name="connsiteX0" fmla="*/ 15016 w 946987"/>
                  <a:gd name="connsiteY0" fmla="*/ 224146 h 540998"/>
                  <a:gd name="connsiteX1" fmla="*/ 402366 w 946987"/>
                  <a:gd name="connsiteY1" fmla="*/ 20946 h 540998"/>
                  <a:gd name="connsiteX2" fmla="*/ 535716 w 946987"/>
                  <a:gd name="connsiteY2" fmla="*/ 14596 h 540998"/>
                  <a:gd name="connsiteX3" fmla="*/ 884966 w 946987"/>
                  <a:gd name="connsiteY3" fmla="*/ 192396 h 540998"/>
                  <a:gd name="connsiteX4" fmla="*/ 904016 w 946987"/>
                  <a:gd name="connsiteY4" fmla="*/ 338446 h 540998"/>
                  <a:gd name="connsiteX5" fmla="*/ 605566 w 946987"/>
                  <a:gd name="connsiteY5" fmla="*/ 497196 h 540998"/>
                  <a:gd name="connsiteX6" fmla="*/ 440466 w 946987"/>
                  <a:gd name="connsiteY6" fmla="*/ 528946 h 540998"/>
                  <a:gd name="connsiteX7" fmla="*/ 65816 w 946987"/>
                  <a:gd name="connsiteY7" fmla="*/ 325746 h 540998"/>
                  <a:gd name="connsiteX8" fmla="*/ 15016 w 946987"/>
                  <a:gd name="connsiteY8" fmla="*/ 224146 h 540998"/>
                  <a:gd name="connsiteX0" fmla="*/ 15016 w 946987"/>
                  <a:gd name="connsiteY0" fmla="*/ 222138 h 538990"/>
                  <a:gd name="connsiteX1" fmla="*/ 402366 w 946987"/>
                  <a:gd name="connsiteY1" fmla="*/ 18938 h 538990"/>
                  <a:gd name="connsiteX2" fmla="*/ 535716 w 946987"/>
                  <a:gd name="connsiteY2" fmla="*/ 12588 h 538990"/>
                  <a:gd name="connsiteX3" fmla="*/ 884966 w 946987"/>
                  <a:gd name="connsiteY3" fmla="*/ 190388 h 538990"/>
                  <a:gd name="connsiteX4" fmla="*/ 904016 w 946987"/>
                  <a:gd name="connsiteY4" fmla="*/ 336438 h 538990"/>
                  <a:gd name="connsiteX5" fmla="*/ 605566 w 946987"/>
                  <a:gd name="connsiteY5" fmla="*/ 495188 h 538990"/>
                  <a:gd name="connsiteX6" fmla="*/ 440466 w 946987"/>
                  <a:gd name="connsiteY6" fmla="*/ 526938 h 538990"/>
                  <a:gd name="connsiteX7" fmla="*/ 65816 w 946987"/>
                  <a:gd name="connsiteY7" fmla="*/ 323738 h 538990"/>
                  <a:gd name="connsiteX8" fmla="*/ 15016 w 946987"/>
                  <a:gd name="connsiteY8" fmla="*/ 222138 h 538990"/>
                  <a:gd name="connsiteX0" fmla="*/ 16716 w 948687"/>
                  <a:gd name="connsiteY0" fmla="*/ 222138 h 538990"/>
                  <a:gd name="connsiteX1" fmla="*/ 404066 w 948687"/>
                  <a:gd name="connsiteY1" fmla="*/ 18938 h 538990"/>
                  <a:gd name="connsiteX2" fmla="*/ 537416 w 948687"/>
                  <a:gd name="connsiteY2" fmla="*/ 12588 h 538990"/>
                  <a:gd name="connsiteX3" fmla="*/ 886666 w 948687"/>
                  <a:gd name="connsiteY3" fmla="*/ 190388 h 538990"/>
                  <a:gd name="connsiteX4" fmla="*/ 905716 w 948687"/>
                  <a:gd name="connsiteY4" fmla="*/ 336438 h 538990"/>
                  <a:gd name="connsiteX5" fmla="*/ 607266 w 948687"/>
                  <a:gd name="connsiteY5" fmla="*/ 495188 h 538990"/>
                  <a:gd name="connsiteX6" fmla="*/ 442166 w 948687"/>
                  <a:gd name="connsiteY6" fmla="*/ 526938 h 538990"/>
                  <a:gd name="connsiteX7" fmla="*/ 67516 w 948687"/>
                  <a:gd name="connsiteY7" fmla="*/ 323738 h 538990"/>
                  <a:gd name="connsiteX8" fmla="*/ 16716 w 948687"/>
                  <a:gd name="connsiteY8" fmla="*/ 222138 h 538990"/>
                  <a:gd name="connsiteX0" fmla="*/ 18752 w 950723"/>
                  <a:gd name="connsiteY0" fmla="*/ 222138 h 538990"/>
                  <a:gd name="connsiteX1" fmla="*/ 406102 w 950723"/>
                  <a:gd name="connsiteY1" fmla="*/ 18938 h 538990"/>
                  <a:gd name="connsiteX2" fmla="*/ 539452 w 950723"/>
                  <a:gd name="connsiteY2" fmla="*/ 12588 h 538990"/>
                  <a:gd name="connsiteX3" fmla="*/ 888702 w 950723"/>
                  <a:gd name="connsiteY3" fmla="*/ 190388 h 538990"/>
                  <a:gd name="connsiteX4" fmla="*/ 907752 w 950723"/>
                  <a:gd name="connsiteY4" fmla="*/ 336438 h 538990"/>
                  <a:gd name="connsiteX5" fmla="*/ 609302 w 950723"/>
                  <a:gd name="connsiteY5" fmla="*/ 495188 h 538990"/>
                  <a:gd name="connsiteX6" fmla="*/ 444202 w 950723"/>
                  <a:gd name="connsiteY6" fmla="*/ 526938 h 538990"/>
                  <a:gd name="connsiteX7" fmla="*/ 69552 w 950723"/>
                  <a:gd name="connsiteY7" fmla="*/ 323738 h 538990"/>
                  <a:gd name="connsiteX8" fmla="*/ 18752 w 950723"/>
                  <a:gd name="connsiteY8" fmla="*/ 222138 h 538990"/>
                  <a:gd name="connsiteX0" fmla="*/ 22955 w 954926"/>
                  <a:gd name="connsiteY0" fmla="*/ 222138 h 538990"/>
                  <a:gd name="connsiteX1" fmla="*/ 410305 w 954926"/>
                  <a:gd name="connsiteY1" fmla="*/ 18938 h 538990"/>
                  <a:gd name="connsiteX2" fmla="*/ 543655 w 954926"/>
                  <a:gd name="connsiteY2" fmla="*/ 12588 h 538990"/>
                  <a:gd name="connsiteX3" fmla="*/ 892905 w 954926"/>
                  <a:gd name="connsiteY3" fmla="*/ 190388 h 538990"/>
                  <a:gd name="connsiteX4" fmla="*/ 911955 w 954926"/>
                  <a:gd name="connsiteY4" fmla="*/ 336438 h 538990"/>
                  <a:gd name="connsiteX5" fmla="*/ 613505 w 954926"/>
                  <a:gd name="connsiteY5" fmla="*/ 495188 h 538990"/>
                  <a:gd name="connsiteX6" fmla="*/ 448405 w 954926"/>
                  <a:gd name="connsiteY6" fmla="*/ 526938 h 538990"/>
                  <a:gd name="connsiteX7" fmla="*/ 73755 w 954926"/>
                  <a:gd name="connsiteY7" fmla="*/ 323738 h 538990"/>
                  <a:gd name="connsiteX8" fmla="*/ 22955 w 954926"/>
                  <a:gd name="connsiteY8" fmla="*/ 222138 h 538990"/>
                  <a:gd name="connsiteX0" fmla="*/ 36710 w 968681"/>
                  <a:gd name="connsiteY0" fmla="*/ 222138 h 538990"/>
                  <a:gd name="connsiteX1" fmla="*/ 424060 w 968681"/>
                  <a:gd name="connsiteY1" fmla="*/ 18938 h 538990"/>
                  <a:gd name="connsiteX2" fmla="*/ 557410 w 968681"/>
                  <a:gd name="connsiteY2" fmla="*/ 12588 h 538990"/>
                  <a:gd name="connsiteX3" fmla="*/ 906660 w 968681"/>
                  <a:gd name="connsiteY3" fmla="*/ 190388 h 538990"/>
                  <a:gd name="connsiteX4" fmla="*/ 925710 w 968681"/>
                  <a:gd name="connsiteY4" fmla="*/ 336438 h 538990"/>
                  <a:gd name="connsiteX5" fmla="*/ 627260 w 968681"/>
                  <a:gd name="connsiteY5" fmla="*/ 495188 h 538990"/>
                  <a:gd name="connsiteX6" fmla="*/ 462160 w 968681"/>
                  <a:gd name="connsiteY6" fmla="*/ 526938 h 538990"/>
                  <a:gd name="connsiteX7" fmla="*/ 51905 w 968681"/>
                  <a:gd name="connsiteY7" fmla="*/ 307914 h 538990"/>
                  <a:gd name="connsiteX8" fmla="*/ 36710 w 968681"/>
                  <a:gd name="connsiteY8" fmla="*/ 222138 h 538990"/>
                  <a:gd name="connsiteX0" fmla="*/ 28394 w 960365"/>
                  <a:gd name="connsiteY0" fmla="*/ 222138 h 538990"/>
                  <a:gd name="connsiteX1" fmla="*/ 415744 w 960365"/>
                  <a:gd name="connsiteY1" fmla="*/ 18938 h 538990"/>
                  <a:gd name="connsiteX2" fmla="*/ 549094 w 960365"/>
                  <a:gd name="connsiteY2" fmla="*/ 12588 h 538990"/>
                  <a:gd name="connsiteX3" fmla="*/ 898344 w 960365"/>
                  <a:gd name="connsiteY3" fmla="*/ 190388 h 538990"/>
                  <a:gd name="connsiteX4" fmla="*/ 917394 w 960365"/>
                  <a:gd name="connsiteY4" fmla="*/ 336438 h 538990"/>
                  <a:gd name="connsiteX5" fmla="*/ 618944 w 960365"/>
                  <a:gd name="connsiteY5" fmla="*/ 495188 h 538990"/>
                  <a:gd name="connsiteX6" fmla="*/ 453844 w 960365"/>
                  <a:gd name="connsiteY6" fmla="*/ 526938 h 538990"/>
                  <a:gd name="connsiteX7" fmla="*/ 43589 w 960365"/>
                  <a:gd name="connsiteY7" fmla="*/ 307914 h 538990"/>
                  <a:gd name="connsiteX8" fmla="*/ 28394 w 960365"/>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55508"/>
                  <a:gd name="connsiteY0" fmla="*/ 222138 h 538990"/>
                  <a:gd name="connsiteX1" fmla="*/ 410887 w 955508"/>
                  <a:gd name="connsiteY1" fmla="*/ 18938 h 538990"/>
                  <a:gd name="connsiteX2" fmla="*/ 544237 w 955508"/>
                  <a:gd name="connsiteY2" fmla="*/ 12588 h 538990"/>
                  <a:gd name="connsiteX3" fmla="*/ 893487 w 955508"/>
                  <a:gd name="connsiteY3" fmla="*/ 190388 h 538990"/>
                  <a:gd name="connsiteX4" fmla="*/ 912537 w 955508"/>
                  <a:gd name="connsiteY4" fmla="*/ 336438 h 538990"/>
                  <a:gd name="connsiteX5" fmla="*/ 614087 w 955508"/>
                  <a:gd name="connsiteY5" fmla="*/ 495188 h 538990"/>
                  <a:gd name="connsiteX6" fmla="*/ 448987 w 955508"/>
                  <a:gd name="connsiteY6" fmla="*/ 526938 h 538990"/>
                  <a:gd name="connsiteX7" fmla="*/ 38732 w 955508"/>
                  <a:gd name="connsiteY7" fmla="*/ 307914 h 538990"/>
                  <a:gd name="connsiteX8" fmla="*/ 23537 w 955508"/>
                  <a:gd name="connsiteY8" fmla="*/ 222138 h 538990"/>
                  <a:gd name="connsiteX0" fmla="*/ 23537 w 978779"/>
                  <a:gd name="connsiteY0" fmla="*/ 222138 h 538990"/>
                  <a:gd name="connsiteX1" fmla="*/ 410887 w 978779"/>
                  <a:gd name="connsiteY1" fmla="*/ 18938 h 538990"/>
                  <a:gd name="connsiteX2" fmla="*/ 544237 w 978779"/>
                  <a:gd name="connsiteY2" fmla="*/ 12588 h 538990"/>
                  <a:gd name="connsiteX3" fmla="*/ 893487 w 978779"/>
                  <a:gd name="connsiteY3" fmla="*/ 190388 h 538990"/>
                  <a:gd name="connsiteX4" fmla="*/ 949484 w 978779"/>
                  <a:gd name="connsiteY4" fmla="*/ 312531 h 538990"/>
                  <a:gd name="connsiteX5" fmla="*/ 614087 w 978779"/>
                  <a:gd name="connsiteY5" fmla="*/ 495188 h 538990"/>
                  <a:gd name="connsiteX6" fmla="*/ 448987 w 978779"/>
                  <a:gd name="connsiteY6" fmla="*/ 526938 h 538990"/>
                  <a:gd name="connsiteX7" fmla="*/ 38732 w 978779"/>
                  <a:gd name="connsiteY7" fmla="*/ 307914 h 538990"/>
                  <a:gd name="connsiteX8" fmla="*/ 23537 w 978779"/>
                  <a:gd name="connsiteY8" fmla="*/ 222138 h 538990"/>
                  <a:gd name="connsiteX0" fmla="*/ 23537 w 992454"/>
                  <a:gd name="connsiteY0" fmla="*/ 222138 h 538990"/>
                  <a:gd name="connsiteX1" fmla="*/ 410887 w 992454"/>
                  <a:gd name="connsiteY1" fmla="*/ 18938 h 538990"/>
                  <a:gd name="connsiteX2" fmla="*/ 544237 w 992454"/>
                  <a:gd name="connsiteY2" fmla="*/ 12588 h 538990"/>
                  <a:gd name="connsiteX3" fmla="*/ 930433 w 992454"/>
                  <a:gd name="connsiteY3" fmla="*/ 205601 h 538990"/>
                  <a:gd name="connsiteX4" fmla="*/ 949484 w 992454"/>
                  <a:gd name="connsiteY4" fmla="*/ 312531 h 538990"/>
                  <a:gd name="connsiteX5" fmla="*/ 614087 w 992454"/>
                  <a:gd name="connsiteY5" fmla="*/ 495188 h 538990"/>
                  <a:gd name="connsiteX6" fmla="*/ 448987 w 992454"/>
                  <a:gd name="connsiteY6" fmla="*/ 526938 h 538990"/>
                  <a:gd name="connsiteX7" fmla="*/ 38732 w 992454"/>
                  <a:gd name="connsiteY7" fmla="*/ 307914 h 538990"/>
                  <a:gd name="connsiteX8" fmla="*/ 23537 w 992454"/>
                  <a:gd name="connsiteY8" fmla="*/ 222138 h 538990"/>
                  <a:gd name="connsiteX0" fmla="*/ 23537 w 983127"/>
                  <a:gd name="connsiteY0" fmla="*/ 222138 h 538990"/>
                  <a:gd name="connsiteX1" fmla="*/ 410887 w 983127"/>
                  <a:gd name="connsiteY1" fmla="*/ 18938 h 538990"/>
                  <a:gd name="connsiteX2" fmla="*/ 544237 w 983127"/>
                  <a:gd name="connsiteY2" fmla="*/ 12588 h 538990"/>
                  <a:gd name="connsiteX3" fmla="*/ 930433 w 983127"/>
                  <a:gd name="connsiteY3" fmla="*/ 205601 h 538990"/>
                  <a:gd name="connsiteX4" fmla="*/ 949484 w 983127"/>
                  <a:gd name="connsiteY4" fmla="*/ 312531 h 538990"/>
                  <a:gd name="connsiteX5" fmla="*/ 614087 w 983127"/>
                  <a:gd name="connsiteY5" fmla="*/ 495188 h 538990"/>
                  <a:gd name="connsiteX6" fmla="*/ 448987 w 983127"/>
                  <a:gd name="connsiteY6" fmla="*/ 526938 h 538990"/>
                  <a:gd name="connsiteX7" fmla="*/ 38732 w 983127"/>
                  <a:gd name="connsiteY7" fmla="*/ 307914 h 538990"/>
                  <a:gd name="connsiteX8" fmla="*/ 23537 w 983127"/>
                  <a:gd name="connsiteY8" fmla="*/ 222138 h 538990"/>
                  <a:gd name="connsiteX0" fmla="*/ 23537 w 982199"/>
                  <a:gd name="connsiteY0" fmla="*/ 222138 h 538990"/>
                  <a:gd name="connsiteX1" fmla="*/ 410887 w 982199"/>
                  <a:gd name="connsiteY1" fmla="*/ 18938 h 538990"/>
                  <a:gd name="connsiteX2" fmla="*/ 544237 w 982199"/>
                  <a:gd name="connsiteY2" fmla="*/ 12588 h 538990"/>
                  <a:gd name="connsiteX3" fmla="*/ 930433 w 982199"/>
                  <a:gd name="connsiteY3" fmla="*/ 205601 h 538990"/>
                  <a:gd name="connsiteX4" fmla="*/ 949484 w 982199"/>
                  <a:gd name="connsiteY4" fmla="*/ 312531 h 538990"/>
                  <a:gd name="connsiteX5" fmla="*/ 614087 w 982199"/>
                  <a:gd name="connsiteY5" fmla="*/ 495188 h 538990"/>
                  <a:gd name="connsiteX6" fmla="*/ 448987 w 982199"/>
                  <a:gd name="connsiteY6" fmla="*/ 526938 h 538990"/>
                  <a:gd name="connsiteX7" fmla="*/ 38732 w 982199"/>
                  <a:gd name="connsiteY7" fmla="*/ 307914 h 538990"/>
                  <a:gd name="connsiteX8" fmla="*/ 23537 w 982199"/>
                  <a:gd name="connsiteY8" fmla="*/ 222138 h 538990"/>
                  <a:gd name="connsiteX0" fmla="*/ 23537 w 982199"/>
                  <a:gd name="connsiteY0" fmla="*/ 231191 h 548043"/>
                  <a:gd name="connsiteX1" fmla="*/ 410887 w 982199"/>
                  <a:gd name="connsiteY1" fmla="*/ 27991 h 548043"/>
                  <a:gd name="connsiteX2" fmla="*/ 552931 w 982199"/>
                  <a:gd name="connsiteY2" fmla="*/ 8601 h 548043"/>
                  <a:gd name="connsiteX3" fmla="*/ 930433 w 982199"/>
                  <a:gd name="connsiteY3" fmla="*/ 214654 h 548043"/>
                  <a:gd name="connsiteX4" fmla="*/ 949484 w 982199"/>
                  <a:gd name="connsiteY4" fmla="*/ 321584 h 548043"/>
                  <a:gd name="connsiteX5" fmla="*/ 614087 w 982199"/>
                  <a:gd name="connsiteY5" fmla="*/ 504241 h 548043"/>
                  <a:gd name="connsiteX6" fmla="*/ 448987 w 982199"/>
                  <a:gd name="connsiteY6" fmla="*/ 535991 h 548043"/>
                  <a:gd name="connsiteX7" fmla="*/ 38732 w 982199"/>
                  <a:gd name="connsiteY7" fmla="*/ 316967 h 548043"/>
                  <a:gd name="connsiteX8" fmla="*/ 23537 w 982199"/>
                  <a:gd name="connsiteY8" fmla="*/ 231191 h 548043"/>
                  <a:gd name="connsiteX0" fmla="*/ 23537 w 982199"/>
                  <a:gd name="connsiteY0" fmla="*/ 241943 h 558795"/>
                  <a:gd name="connsiteX1" fmla="*/ 428274 w 982199"/>
                  <a:gd name="connsiteY1" fmla="*/ 12663 h 558795"/>
                  <a:gd name="connsiteX2" fmla="*/ 552931 w 982199"/>
                  <a:gd name="connsiteY2" fmla="*/ 19353 h 558795"/>
                  <a:gd name="connsiteX3" fmla="*/ 930433 w 982199"/>
                  <a:gd name="connsiteY3" fmla="*/ 225406 h 558795"/>
                  <a:gd name="connsiteX4" fmla="*/ 949484 w 982199"/>
                  <a:gd name="connsiteY4" fmla="*/ 332336 h 558795"/>
                  <a:gd name="connsiteX5" fmla="*/ 614087 w 982199"/>
                  <a:gd name="connsiteY5" fmla="*/ 514993 h 558795"/>
                  <a:gd name="connsiteX6" fmla="*/ 448987 w 982199"/>
                  <a:gd name="connsiteY6" fmla="*/ 546743 h 558795"/>
                  <a:gd name="connsiteX7" fmla="*/ 38732 w 982199"/>
                  <a:gd name="connsiteY7" fmla="*/ 327719 h 558795"/>
                  <a:gd name="connsiteX8" fmla="*/ 23537 w 982199"/>
                  <a:gd name="connsiteY8" fmla="*/ 241943 h 558795"/>
                  <a:gd name="connsiteX0" fmla="*/ 23537 w 980850"/>
                  <a:gd name="connsiteY0" fmla="*/ 241943 h 558795"/>
                  <a:gd name="connsiteX1" fmla="*/ 428274 w 980850"/>
                  <a:gd name="connsiteY1" fmla="*/ 12663 h 558795"/>
                  <a:gd name="connsiteX2" fmla="*/ 552931 w 980850"/>
                  <a:gd name="connsiteY2" fmla="*/ 19353 h 558795"/>
                  <a:gd name="connsiteX3" fmla="*/ 930433 w 980850"/>
                  <a:gd name="connsiteY3" fmla="*/ 225406 h 558795"/>
                  <a:gd name="connsiteX4" fmla="*/ 947311 w 980850"/>
                  <a:gd name="connsiteY4" fmla="*/ 323643 h 558795"/>
                  <a:gd name="connsiteX5" fmla="*/ 614087 w 980850"/>
                  <a:gd name="connsiteY5" fmla="*/ 514993 h 558795"/>
                  <a:gd name="connsiteX6" fmla="*/ 448987 w 980850"/>
                  <a:gd name="connsiteY6" fmla="*/ 546743 h 558795"/>
                  <a:gd name="connsiteX7" fmla="*/ 38732 w 980850"/>
                  <a:gd name="connsiteY7" fmla="*/ 327719 h 558795"/>
                  <a:gd name="connsiteX8" fmla="*/ 23537 w 980850"/>
                  <a:gd name="connsiteY8" fmla="*/ 241943 h 558795"/>
                  <a:gd name="connsiteX0" fmla="*/ 23537 w 975406"/>
                  <a:gd name="connsiteY0" fmla="*/ 241943 h 558795"/>
                  <a:gd name="connsiteX1" fmla="*/ 428274 w 975406"/>
                  <a:gd name="connsiteY1" fmla="*/ 12663 h 558795"/>
                  <a:gd name="connsiteX2" fmla="*/ 552931 w 975406"/>
                  <a:gd name="connsiteY2" fmla="*/ 19353 h 558795"/>
                  <a:gd name="connsiteX3" fmla="*/ 930433 w 975406"/>
                  <a:gd name="connsiteY3" fmla="*/ 225406 h 558795"/>
                  <a:gd name="connsiteX4" fmla="*/ 947311 w 975406"/>
                  <a:gd name="connsiteY4" fmla="*/ 323643 h 558795"/>
                  <a:gd name="connsiteX5" fmla="*/ 614087 w 975406"/>
                  <a:gd name="connsiteY5" fmla="*/ 514993 h 558795"/>
                  <a:gd name="connsiteX6" fmla="*/ 448987 w 975406"/>
                  <a:gd name="connsiteY6" fmla="*/ 546743 h 558795"/>
                  <a:gd name="connsiteX7" fmla="*/ 38732 w 975406"/>
                  <a:gd name="connsiteY7" fmla="*/ 327719 h 558795"/>
                  <a:gd name="connsiteX8" fmla="*/ 23537 w 975406"/>
                  <a:gd name="connsiteY8" fmla="*/ 241943 h 558795"/>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 name="connsiteX0" fmla="*/ 23537 w 975406"/>
                  <a:gd name="connsiteY0" fmla="*/ 245789 h 562641"/>
                  <a:gd name="connsiteX1" fmla="*/ 428274 w 975406"/>
                  <a:gd name="connsiteY1" fmla="*/ 16509 h 562641"/>
                  <a:gd name="connsiteX2" fmla="*/ 535544 w 975406"/>
                  <a:gd name="connsiteY2" fmla="*/ 14506 h 562641"/>
                  <a:gd name="connsiteX3" fmla="*/ 930433 w 975406"/>
                  <a:gd name="connsiteY3" fmla="*/ 229252 h 562641"/>
                  <a:gd name="connsiteX4" fmla="*/ 947311 w 975406"/>
                  <a:gd name="connsiteY4" fmla="*/ 327489 h 562641"/>
                  <a:gd name="connsiteX5" fmla="*/ 614087 w 975406"/>
                  <a:gd name="connsiteY5" fmla="*/ 518839 h 562641"/>
                  <a:gd name="connsiteX6" fmla="*/ 448987 w 975406"/>
                  <a:gd name="connsiteY6" fmla="*/ 550589 h 562641"/>
                  <a:gd name="connsiteX7" fmla="*/ 38732 w 975406"/>
                  <a:gd name="connsiteY7" fmla="*/ 331565 h 562641"/>
                  <a:gd name="connsiteX8" fmla="*/ 23537 w 975406"/>
                  <a:gd name="connsiteY8" fmla="*/ 245789 h 5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406" h="562641">
                    <a:moveTo>
                      <a:pt x="23537" y="245789"/>
                    </a:moveTo>
                    <a:lnTo>
                      <a:pt x="428274" y="16509"/>
                    </a:lnTo>
                    <a:cubicBezTo>
                      <a:pt x="464812" y="-5074"/>
                      <a:pt x="505280" y="-5237"/>
                      <a:pt x="535544" y="14506"/>
                    </a:cubicBezTo>
                    <a:lnTo>
                      <a:pt x="930433" y="229252"/>
                    </a:lnTo>
                    <a:cubicBezTo>
                      <a:pt x="984730" y="258545"/>
                      <a:pt x="989248" y="302543"/>
                      <a:pt x="947311" y="327489"/>
                    </a:cubicBezTo>
                    <a:lnTo>
                      <a:pt x="614087" y="518839"/>
                    </a:lnTo>
                    <a:cubicBezTo>
                      <a:pt x="540420" y="557216"/>
                      <a:pt x="510370" y="576960"/>
                      <a:pt x="448987" y="550589"/>
                    </a:cubicBezTo>
                    <a:lnTo>
                      <a:pt x="38732" y="331565"/>
                    </a:lnTo>
                    <a:cubicBezTo>
                      <a:pt x="-11514" y="305610"/>
                      <a:pt x="-8768" y="263416"/>
                      <a:pt x="23537" y="245789"/>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1961" b="1" kern="0" dirty="0">
                  <a:solidFill>
                    <a:schemeClr val="bg1"/>
                  </a:solidFill>
                  <a:latin typeface="+mj-lt"/>
                  <a:ea typeface="Segoe UI" pitchFamily="34" charset="0"/>
                  <a:cs typeface="Segoe UI" pitchFamily="34" charset="0"/>
                </a:endParaRPr>
              </a:p>
            </p:txBody>
          </p:sp>
        </p:grpSp>
      </p:grpSp>
    </p:spTree>
    <p:extLst>
      <p:ext uri="{BB962C8B-B14F-4D97-AF65-F5344CB8AC3E}">
        <p14:creationId xmlns:p14="http://schemas.microsoft.com/office/powerpoint/2010/main" val="5150829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Oval 24"/>
          <p:cNvSpPr/>
          <p:nvPr/>
        </p:nvSpPr>
        <p:spPr bwMode="auto">
          <a:xfrm>
            <a:off x="8384436" y="3244755"/>
            <a:ext cx="1344637" cy="1408560"/>
          </a:xfrm>
          <a:prstGeom prst="ellipse">
            <a:avLst/>
          </a:prstGeom>
          <a:solidFill>
            <a:schemeClr val="bg1"/>
          </a:solidFill>
          <a:ln w="571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6893" rIns="0"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765" b="1" kern="0" dirty="0">
                <a:solidFill>
                  <a:srgbClr val="505050"/>
                </a:solidFill>
                <a:ea typeface="Segoe UI" pitchFamily="34" charset="0"/>
                <a:cs typeface="Segoe UI" pitchFamily="34" charset="0"/>
              </a:rPr>
              <a:t>Customize</a:t>
            </a:r>
            <a:br>
              <a:rPr lang="en-IN" sz="1765" b="1" kern="0" dirty="0">
                <a:solidFill>
                  <a:srgbClr val="505050"/>
                </a:solidFill>
                <a:ea typeface="Segoe UI" pitchFamily="34" charset="0"/>
                <a:cs typeface="Segoe UI" pitchFamily="34" charset="0"/>
              </a:rPr>
            </a:br>
            <a:r>
              <a:rPr lang="en-IN" sz="1765" b="1" kern="0" dirty="0">
                <a:solidFill>
                  <a:srgbClr val="505050"/>
                </a:solidFill>
                <a:ea typeface="Segoe UI" pitchFamily="34" charset="0"/>
                <a:cs typeface="Segoe UI" pitchFamily="34" charset="0"/>
              </a:rPr>
              <a:t>cluster?</a:t>
            </a:r>
          </a:p>
        </p:txBody>
      </p:sp>
      <p:sp>
        <p:nvSpPr>
          <p:cNvPr id="28" name="Rectangle 27"/>
          <p:cNvSpPr/>
          <p:nvPr/>
        </p:nvSpPr>
        <p:spPr>
          <a:xfrm>
            <a:off x="4388747" y="1268866"/>
            <a:ext cx="7384611" cy="685737"/>
          </a:xfrm>
          <a:prstGeom prst="rect">
            <a:avLst/>
          </a:prstGeom>
          <a:solidFill>
            <a:schemeClr val="bg1"/>
          </a:solidFill>
          <a:ln w="571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96386"/>
            <a:r>
              <a:rPr lang="en-US" sz="2353" kern="0" dirty="0">
                <a:solidFill>
                  <a:schemeClr val="tx2"/>
                </a:solidFill>
                <a:latin typeface="Segoe UI Semibold" panose="020B0702040204020203" pitchFamily="34" charset="0"/>
                <a:cs typeface="Segoe UI Semibold" panose="020B0702040204020203" pitchFamily="34" charset="0"/>
              </a:rPr>
              <a:t>HDInsight cluster provisioning states</a:t>
            </a:r>
          </a:p>
        </p:txBody>
      </p:sp>
      <p:grpSp>
        <p:nvGrpSpPr>
          <p:cNvPr id="76" name="Group 75"/>
          <p:cNvGrpSpPr/>
          <p:nvPr/>
        </p:nvGrpSpPr>
        <p:grpSpPr>
          <a:xfrm>
            <a:off x="455993" y="4878203"/>
            <a:ext cx="3783350" cy="1464179"/>
            <a:chOff x="465136" y="4975524"/>
            <a:chExt cx="3859214" cy="1493539"/>
          </a:xfrm>
        </p:grpSpPr>
        <p:grpSp>
          <p:nvGrpSpPr>
            <p:cNvPr id="72" name="Group 71"/>
            <p:cNvGrpSpPr/>
            <p:nvPr/>
          </p:nvGrpSpPr>
          <p:grpSpPr>
            <a:xfrm>
              <a:off x="465136" y="4975524"/>
              <a:ext cx="3859214" cy="1493539"/>
              <a:chOff x="465136" y="4975524"/>
              <a:chExt cx="3859214" cy="1493539"/>
            </a:xfrm>
          </p:grpSpPr>
          <p:sp>
            <p:nvSpPr>
              <p:cNvPr id="67" name="Rectangle 66"/>
              <p:cNvSpPr/>
              <p:nvPr/>
            </p:nvSpPr>
            <p:spPr bwMode="auto">
              <a:xfrm>
                <a:off x="465136" y="5437189"/>
                <a:ext cx="3859214" cy="1031874"/>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547792" lvl="2" defTabSz="913505" fontAlgn="base">
                  <a:spcBef>
                    <a:spcPts val="588"/>
                  </a:spcBef>
                  <a:spcAft>
                    <a:spcPct val="0"/>
                  </a:spcAft>
                  <a:buSzPct val="90000"/>
                </a:pPr>
                <a:r>
                  <a:rPr lang="en-US" sz="1961" kern="0" dirty="0">
                    <a:solidFill>
                      <a:schemeClr val="tx2"/>
                    </a:solidFill>
                    <a:ea typeface="ＭＳ Ｐゴシック" charset="0"/>
                  </a:rPr>
                  <a:t>RDP to cluster, update </a:t>
                </a:r>
                <a:r>
                  <a:rPr lang="en-US" sz="1961" kern="0" dirty="0" err="1">
                    <a:solidFill>
                      <a:schemeClr val="tx2"/>
                    </a:solidFill>
                    <a:ea typeface="ＭＳ Ｐゴシック" charset="0"/>
                  </a:rPr>
                  <a:t>config</a:t>
                </a:r>
                <a:r>
                  <a:rPr lang="en-US" sz="1961" kern="0" dirty="0">
                    <a:solidFill>
                      <a:schemeClr val="tx2"/>
                    </a:solidFill>
                    <a:ea typeface="ＭＳ Ｐゴシック" charset="0"/>
                  </a:rPr>
                  <a:t> files (non-durable) </a:t>
                </a:r>
              </a:p>
            </p:txBody>
          </p:sp>
          <p:sp>
            <p:nvSpPr>
              <p:cNvPr id="68" name="Rectangle 67"/>
              <p:cNvSpPr/>
              <p:nvPr/>
            </p:nvSpPr>
            <p:spPr bwMode="auto">
              <a:xfrm>
                <a:off x="465136" y="4975524"/>
                <a:ext cx="3859214" cy="461665"/>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spAutoFit/>
              </a:bodyPr>
              <a:lstStyle/>
              <a:p>
                <a:pPr algn="ctr" defTabSz="914102" fontAlgn="base">
                  <a:spcBef>
                    <a:spcPct val="0"/>
                  </a:spcBef>
                  <a:spcAft>
                    <a:spcPct val="0"/>
                  </a:spcAft>
                </a:pPr>
                <a:r>
                  <a:rPr lang="en-IN" sz="2353" kern="0" dirty="0">
                    <a:solidFill>
                      <a:schemeClr val="bg1"/>
                    </a:solidFill>
                    <a:latin typeface="+mj-lt"/>
                    <a:ea typeface="Segoe UI" pitchFamily="34" charset="0"/>
                    <a:cs typeface="Segoe UI" pitchFamily="34" charset="0"/>
                  </a:rPr>
                  <a:t>Ad hoc</a:t>
                </a:r>
              </a:p>
            </p:txBody>
          </p:sp>
        </p:grpSp>
        <p:sp>
          <p:nvSpPr>
            <p:cNvPr id="69" name="Freeform 68"/>
            <p:cNvSpPr>
              <a:spLocks/>
            </p:cNvSpPr>
            <p:nvPr/>
          </p:nvSpPr>
          <p:spPr bwMode="auto">
            <a:xfrm>
              <a:off x="572440" y="5530209"/>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89642" tIns="44821" rIns="89642" bIns="44821" numCol="1" anchor="t" anchorCtr="0" compatLnSpc="1">
              <a:prstTxWarp prst="textNoShape">
                <a:avLst/>
              </a:prstTxWarp>
            </a:bodyPr>
            <a:lstStyle/>
            <a:p>
              <a:pPr defTabSz="896386"/>
              <a:endParaRPr lang="en-IN" sz="1765" kern="0">
                <a:solidFill>
                  <a:srgbClr val="000000"/>
                </a:solidFill>
              </a:endParaRPr>
            </a:p>
          </p:txBody>
        </p:sp>
      </p:grpSp>
      <p:sp>
        <p:nvSpPr>
          <p:cNvPr id="2" name="Title 1"/>
          <p:cNvSpPr>
            <a:spLocks noGrp="1"/>
          </p:cNvSpPr>
          <p:nvPr>
            <p:ph type="title"/>
          </p:nvPr>
        </p:nvSpPr>
        <p:spPr/>
        <p:txBody>
          <a:bodyPr/>
          <a:lstStyle/>
          <a:p>
            <a:r>
              <a:rPr lang="en-US" dirty="0"/>
              <a:t>Cluster customization options</a:t>
            </a:r>
          </a:p>
        </p:txBody>
      </p:sp>
      <p:sp>
        <p:nvSpPr>
          <p:cNvPr id="3" name="Content Placeholder 2"/>
          <p:cNvSpPr>
            <a:spLocks noGrp="1"/>
          </p:cNvSpPr>
          <p:nvPr>
            <p:ph idx="1"/>
          </p:nvPr>
        </p:nvSpPr>
        <p:spPr/>
        <p:txBody>
          <a:bodyPr/>
          <a:lstStyle/>
          <a:p>
            <a:endParaRPr lang="en-US"/>
          </a:p>
        </p:txBody>
      </p:sp>
      <p:sp>
        <p:nvSpPr>
          <p:cNvPr id="4" name="Text Placeholder 3"/>
          <p:cNvSpPr>
            <a:spLocks noGrp="1"/>
          </p:cNvSpPr>
          <p:nvPr>
            <p:ph type="body" sz="quarter" idx="13"/>
          </p:nvPr>
        </p:nvSpPr>
        <p:spPr/>
        <p:txBody>
          <a:bodyPr/>
          <a:lstStyle/>
          <a:p>
            <a:endParaRPr lang="en-US"/>
          </a:p>
        </p:txBody>
      </p:sp>
      <p:grpSp>
        <p:nvGrpSpPr>
          <p:cNvPr id="73" name="Group 72"/>
          <p:cNvGrpSpPr/>
          <p:nvPr/>
        </p:nvGrpSpPr>
        <p:grpSpPr>
          <a:xfrm>
            <a:off x="455993" y="1268867"/>
            <a:ext cx="3783350" cy="1682352"/>
            <a:chOff x="465136" y="1293813"/>
            <a:chExt cx="3859214" cy="1716087"/>
          </a:xfrm>
        </p:grpSpPr>
        <p:grpSp>
          <p:nvGrpSpPr>
            <p:cNvPr id="70" name="Group 69"/>
            <p:cNvGrpSpPr/>
            <p:nvPr/>
          </p:nvGrpSpPr>
          <p:grpSpPr>
            <a:xfrm>
              <a:off x="465136" y="1293813"/>
              <a:ext cx="3859214" cy="1716087"/>
              <a:chOff x="465136" y="1293813"/>
              <a:chExt cx="3859214" cy="1716087"/>
            </a:xfrm>
          </p:grpSpPr>
          <p:sp>
            <p:nvSpPr>
              <p:cNvPr id="34" name="Rectangle 33"/>
              <p:cNvSpPr/>
              <p:nvPr/>
            </p:nvSpPr>
            <p:spPr bwMode="auto">
              <a:xfrm>
                <a:off x="465136" y="1755478"/>
                <a:ext cx="3859214" cy="1254422"/>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547792" lvl="2" defTabSz="913505" fontAlgn="base">
                  <a:spcBef>
                    <a:spcPts val="588"/>
                  </a:spcBef>
                  <a:spcAft>
                    <a:spcPct val="0"/>
                  </a:spcAft>
                  <a:buSzPct val="90000"/>
                </a:pPr>
                <a:r>
                  <a:rPr lang="en-US" sz="1961" kern="0" dirty="0">
                    <a:solidFill>
                      <a:schemeClr val="tx2"/>
                    </a:solidFill>
                    <a:ea typeface="ＭＳ Ｐゴシック" charset="0"/>
                  </a:rPr>
                  <a:t>Hive/</a:t>
                </a:r>
                <a:r>
                  <a:rPr lang="en-US" sz="1961" kern="0" dirty="0" err="1">
                    <a:solidFill>
                      <a:schemeClr val="tx2"/>
                    </a:solidFill>
                    <a:ea typeface="ＭＳ Ｐゴシック" charset="0"/>
                  </a:rPr>
                  <a:t>Oozie</a:t>
                </a:r>
                <a:r>
                  <a:rPr lang="en-US" sz="1961" kern="0" dirty="0">
                    <a:solidFill>
                      <a:schemeClr val="tx2"/>
                    </a:solidFill>
                    <a:ea typeface="ＭＳ Ｐゴシック" charset="0"/>
                  </a:rPr>
                  <a:t> </a:t>
                </a:r>
                <a:r>
                  <a:rPr lang="en-US" sz="1961" kern="0" dirty="0" err="1">
                    <a:solidFill>
                      <a:schemeClr val="tx2"/>
                    </a:solidFill>
                    <a:ea typeface="ＭＳ Ｐゴシック" charset="0"/>
                  </a:rPr>
                  <a:t>Metastore</a:t>
                </a:r>
                <a:endParaRPr lang="en-US" sz="1961" kern="0" dirty="0">
                  <a:solidFill>
                    <a:schemeClr val="tx2"/>
                  </a:solidFill>
                  <a:ea typeface="ＭＳ Ｐゴシック" charset="0"/>
                </a:endParaRPr>
              </a:p>
              <a:p>
                <a:pPr marL="547792" lvl="2" defTabSz="913505" fontAlgn="base">
                  <a:spcBef>
                    <a:spcPts val="588"/>
                  </a:spcBef>
                  <a:spcAft>
                    <a:spcPct val="0"/>
                  </a:spcAft>
                  <a:buSzPct val="90000"/>
                </a:pPr>
                <a:r>
                  <a:rPr lang="en-US" sz="1961" kern="0" dirty="0">
                    <a:solidFill>
                      <a:schemeClr val="tx2"/>
                    </a:solidFill>
                    <a:ea typeface="ＭＳ Ｐゴシック" charset="0"/>
                  </a:rPr>
                  <a:t>Storage accounts</a:t>
                </a:r>
              </a:p>
              <a:p>
                <a:pPr marL="547792" lvl="2" defTabSz="913505" fontAlgn="base">
                  <a:spcBef>
                    <a:spcPts val="588"/>
                  </a:spcBef>
                  <a:spcAft>
                    <a:spcPct val="0"/>
                  </a:spcAft>
                  <a:buSzPct val="90000"/>
                </a:pPr>
                <a:r>
                  <a:rPr lang="en-US" sz="1961" kern="0" dirty="0" err="1">
                    <a:solidFill>
                      <a:schemeClr val="tx2"/>
                    </a:solidFill>
                    <a:ea typeface="ＭＳ Ｐゴシック" charset="0"/>
                  </a:rPr>
                  <a:t>ScriptAction</a:t>
                </a:r>
                <a:endParaRPr lang="en-US" sz="1961" kern="0" dirty="0">
                  <a:solidFill>
                    <a:schemeClr val="tx2"/>
                  </a:solidFill>
                  <a:ea typeface="ＭＳ Ｐゴシック" charset="0"/>
                </a:endParaRPr>
              </a:p>
            </p:txBody>
          </p:sp>
          <p:sp>
            <p:nvSpPr>
              <p:cNvPr id="35" name="Rectangle 34"/>
              <p:cNvSpPr/>
              <p:nvPr/>
            </p:nvSpPr>
            <p:spPr bwMode="auto">
              <a:xfrm>
                <a:off x="465136" y="1293813"/>
                <a:ext cx="3859214" cy="461665"/>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spAutoFit/>
              </a:bodyPr>
              <a:lstStyle/>
              <a:p>
                <a:pPr algn="ctr" defTabSz="914102" fontAlgn="base">
                  <a:spcBef>
                    <a:spcPct val="0"/>
                  </a:spcBef>
                  <a:spcAft>
                    <a:spcPct val="0"/>
                  </a:spcAft>
                </a:pPr>
                <a:r>
                  <a:rPr lang="en-IN" sz="2353" kern="0" dirty="0">
                    <a:solidFill>
                      <a:schemeClr val="bg1"/>
                    </a:solidFill>
                    <a:latin typeface="+mj-lt"/>
                    <a:ea typeface="Segoe UI" pitchFamily="34" charset="0"/>
                    <a:cs typeface="Segoe UI" pitchFamily="34" charset="0"/>
                  </a:rPr>
                  <a:t>Via Azure portal</a:t>
                </a:r>
              </a:p>
            </p:txBody>
          </p:sp>
        </p:grpSp>
        <p:sp>
          <p:nvSpPr>
            <p:cNvPr id="6" name="Freeform 5"/>
            <p:cNvSpPr>
              <a:spLocks/>
            </p:cNvSpPr>
            <p:nvPr/>
          </p:nvSpPr>
          <p:spPr bwMode="auto">
            <a:xfrm>
              <a:off x="562679" y="1846515"/>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89642" tIns="44821" rIns="89642" bIns="44821" numCol="1" anchor="t" anchorCtr="0" compatLnSpc="1">
              <a:prstTxWarp prst="textNoShape">
                <a:avLst/>
              </a:prstTxWarp>
            </a:bodyPr>
            <a:lstStyle/>
            <a:p>
              <a:pPr defTabSz="896386"/>
              <a:endParaRPr lang="en-IN" sz="1765" kern="0">
                <a:solidFill>
                  <a:srgbClr val="000000"/>
                </a:solidFill>
              </a:endParaRPr>
            </a:p>
          </p:txBody>
        </p:sp>
        <p:sp>
          <p:nvSpPr>
            <p:cNvPr id="7" name="Freeform 6"/>
            <p:cNvSpPr>
              <a:spLocks/>
            </p:cNvSpPr>
            <p:nvPr/>
          </p:nvSpPr>
          <p:spPr bwMode="auto">
            <a:xfrm>
              <a:off x="572441" y="2215147"/>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89642" tIns="44821" rIns="89642" bIns="44821" numCol="1" anchor="t" anchorCtr="0" compatLnSpc="1">
              <a:prstTxWarp prst="textNoShape">
                <a:avLst/>
              </a:prstTxWarp>
            </a:bodyPr>
            <a:lstStyle/>
            <a:p>
              <a:pPr defTabSz="896386"/>
              <a:endParaRPr lang="en-IN" sz="1765" kern="0">
                <a:solidFill>
                  <a:srgbClr val="000000"/>
                </a:solidFill>
              </a:endParaRPr>
            </a:p>
          </p:txBody>
        </p:sp>
        <p:sp>
          <p:nvSpPr>
            <p:cNvPr id="8" name="Freeform 7"/>
            <p:cNvSpPr>
              <a:spLocks/>
            </p:cNvSpPr>
            <p:nvPr/>
          </p:nvSpPr>
          <p:spPr bwMode="auto">
            <a:xfrm>
              <a:off x="548386" y="2583778"/>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89642" tIns="44821" rIns="89642" bIns="44821" numCol="1" anchor="t" anchorCtr="0" compatLnSpc="1">
              <a:prstTxWarp prst="textNoShape">
                <a:avLst/>
              </a:prstTxWarp>
            </a:bodyPr>
            <a:lstStyle/>
            <a:p>
              <a:pPr defTabSz="896386"/>
              <a:endParaRPr lang="en-IN" sz="1765" kern="0">
                <a:solidFill>
                  <a:srgbClr val="000000"/>
                </a:solidFill>
              </a:endParaRPr>
            </a:p>
          </p:txBody>
        </p:sp>
      </p:grpSp>
      <p:sp>
        <p:nvSpPr>
          <p:cNvPr id="14" name="Rectangle 13"/>
          <p:cNvSpPr/>
          <p:nvPr/>
        </p:nvSpPr>
        <p:spPr bwMode="auto">
          <a:xfrm>
            <a:off x="4632759" y="2142485"/>
            <a:ext cx="1344637" cy="986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568" kern="0" dirty="0">
                <a:solidFill>
                  <a:schemeClr val="bg1"/>
                </a:solidFill>
                <a:ea typeface="Segoe UI" pitchFamily="34" charset="0"/>
                <a:cs typeface="Segoe UI" pitchFamily="34" charset="0"/>
              </a:rPr>
              <a:t>Ready for deployment</a:t>
            </a:r>
          </a:p>
        </p:txBody>
      </p:sp>
      <p:sp>
        <p:nvSpPr>
          <p:cNvPr id="18" name="Rectangle 17"/>
          <p:cNvSpPr/>
          <p:nvPr/>
        </p:nvSpPr>
        <p:spPr bwMode="auto">
          <a:xfrm>
            <a:off x="6508598" y="2142485"/>
            <a:ext cx="1344637" cy="986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568" kern="0" dirty="0">
                <a:solidFill>
                  <a:schemeClr val="bg1"/>
                </a:solidFill>
                <a:ea typeface="Segoe UI" pitchFamily="34" charset="0"/>
                <a:cs typeface="Segoe UI" pitchFamily="34" charset="0"/>
              </a:rPr>
              <a:t>Accepted</a:t>
            </a:r>
          </a:p>
        </p:txBody>
      </p:sp>
      <p:sp>
        <p:nvSpPr>
          <p:cNvPr id="19" name="Rectangle 18"/>
          <p:cNvSpPr/>
          <p:nvPr/>
        </p:nvSpPr>
        <p:spPr bwMode="auto">
          <a:xfrm>
            <a:off x="8384436" y="2142485"/>
            <a:ext cx="1344637" cy="986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568" kern="0" dirty="0">
                <a:solidFill>
                  <a:schemeClr val="bg1"/>
                </a:solidFill>
                <a:ea typeface="Segoe UI" pitchFamily="34" charset="0"/>
                <a:cs typeface="Segoe UI" pitchFamily="34" charset="0"/>
              </a:rPr>
              <a:t>Cluster storage provisioned</a:t>
            </a:r>
          </a:p>
        </p:txBody>
      </p:sp>
      <p:sp>
        <p:nvSpPr>
          <p:cNvPr id="20" name="Rectangle 19"/>
          <p:cNvSpPr/>
          <p:nvPr/>
        </p:nvSpPr>
        <p:spPr bwMode="auto">
          <a:xfrm>
            <a:off x="10260275" y="2142485"/>
            <a:ext cx="1344637" cy="986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568" kern="0" dirty="0" err="1">
                <a:solidFill>
                  <a:schemeClr val="bg1"/>
                </a:solidFill>
                <a:ea typeface="Segoe UI" pitchFamily="34" charset="0"/>
                <a:cs typeface="Segoe UI" pitchFamily="34" charset="0"/>
              </a:rPr>
              <a:t>AzureVM</a:t>
            </a:r>
            <a:r>
              <a:rPr lang="en-IN" sz="1568" kern="0" dirty="0">
                <a:solidFill>
                  <a:schemeClr val="bg1"/>
                </a:solidFill>
                <a:ea typeface="Segoe UI" pitchFamily="34" charset="0"/>
                <a:cs typeface="Segoe UI" pitchFamily="34" charset="0"/>
              </a:rPr>
              <a:t> configuration</a:t>
            </a:r>
          </a:p>
        </p:txBody>
      </p:sp>
      <p:sp>
        <p:nvSpPr>
          <p:cNvPr id="21" name="Rectangle 20"/>
          <p:cNvSpPr/>
          <p:nvPr/>
        </p:nvSpPr>
        <p:spPr bwMode="auto">
          <a:xfrm>
            <a:off x="4632759" y="3551046"/>
            <a:ext cx="1344637" cy="30478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372" kern="0" dirty="0">
                <a:solidFill>
                  <a:schemeClr val="bg1"/>
                </a:solidFill>
                <a:ea typeface="Segoe UI" pitchFamily="34" charset="0"/>
                <a:cs typeface="Segoe UI" pitchFamily="34" charset="0"/>
              </a:rPr>
              <a:t>Running</a:t>
            </a:r>
          </a:p>
        </p:txBody>
      </p:sp>
      <p:sp>
        <p:nvSpPr>
          <p:cNvPr id="22" name="Rectangle 21"/>
          <p:cNvSpPr/>
          <p:nvPr/>
        </p:nvSpPr>
        <p:spPr bwMode="auto">
          <a:xfrm>
            <a:off x="4632759" y="3891687"/>
            <a:ext cx="1344637" cy="30478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372" kern="0" dirty="0">
                <a:solidFill>
                  <a:schemeClr val="bg1"/>
                </a:solidFill>
                <a:ea typeface="Segoe UI" pitchFamily="34" charset="0"/>
                <a:cs typeface="Segoe UI" pitchFamily="34" charset="0"/>
              </a:rPr>
              <a:t>Timed Out</a:t>
            </a:r>
          </a:p>
        </p:txBody>
      </p:sp>
      <p:sp>
        <p:nvSpPr>
          <p:cNvPr id="23" name="Rectangle 22"/>
          <p:cNvSpPr/>
          <p:nvPr/>
        </p:nvSpPr>
        <p:spPr bwMode="auto">
          <a:xfrm>
            <a:off x="4632759" y="4232329"/>
            <a:ext cx="1344637" cy="30478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372" kern="0" dirty="0">
                <a:solidFill>
                  <a:schemeClr val="bg1"/>
                </a:solidFill>
                <a:ea typeface="Segoe UI" pitchFamily="34" charset="0"/>
                <a:cs typeface="Segoe UI" pitchFamily="34" charset="0"/>
              </a:rPr>
              <a:t>Error</a:t>
            </a:r>
          </a:p>
        </p:txBody>
      </p:sp>
      <p:sp>
        <p:nvSpPr>
          <p:cNvPr id="24" name="Rectangle 23"/>
          <p:cNvSpPr/>
          <p:nvPr/>
        </p:nvSpPr>
        <p:spPr bwMode="auto">
          <a:xfrm>
            <a:off x="6508598" y="3551046"/>
            <a:ext cx="1344637" cy="986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568" kern="0" dirty="0">
                <a:solidFill>
                  <a:schemeClr val="bg1"/>
                </a:solidFill>
                <a:ea typeface="Segoe UI" pitchFamily="34" charset="0"/>
                <a:cs typeface="Segoe UI" pitchFamily="34" charset="0"/>
              </a:rPr>
              <a:t>Cluster operational</a:t>
            </a:r>
          </a:p>
        </p:txBody>
      </p:sp>
      <p:sp>
        <p:nvSpPr>
          <p:cNvPr id="26" name="Rectangle 25"/>
          <p:cNvSpPr/>
          <p:nvPr/>
        </p:nvSpPr>
        <p:spPr bwMode="auto">
          <a:xfrm>
            <a:off x="10260275" y="3551412"/>
            <a:ext cx="1344637" cy="986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568" kern="0" dirty="0">
                <a:solidFill>
                  <a:schemeClr val="bg1"/>
                </a:solidFill>
                <a:ea typeface="Segoe UI" pitchFamily="34" charset="0"/>
                <a:cs typeface="Segoe UI" pitchFamily="34" charset="0"/>
              </a:rPr>
              <a:t>Configuring </a:t>
            </a:r>
            <a:r>
              <a:rPr lang="en-IN" sz="1568" kern="0" dirty="0" err="1">
                <a:solidFill>
                  <a:schemeClr val="bg1"/>
                </a:solidFill>
                <a:ea typeface="Segoe UI" pitchFamily="34" charset="0"/>
                <a:cs typeface="Segoe UI" pitchFamily="34" charset="0"/>
              </a:rPr>
              <a:t>HDInsight</a:t>
            </a:r>
            <a:endParaRPr lang="en-IN" sz="1568" kern="0" dirty="0">
              <a:solidFill>
                <a:schemeClr val="bg1"/>
              </a:solidFill>
              <a:ea typeface="Segoe UI" pitchFamily="34" charset="0"/>
              <a:cs typeface="Segoe UI" pitchFamily="34" charset="0"/>
            </a:endParaRPr>
          </a:p>
        </p:txBody>
      </p:sp>
      <p:sp>
        <p:nvSpPr>
          <p:cNvPr id="27" name="Rectangle 26"/>
          <p:cNvSpPr/>
          <p:nvPr/>
        </p:nvSpPr>
        <p:spPr bwMode="auto">
          <a:xfrm>
            <a:off x="8125846" y="4959606"/>
            <a:ext cx="1875839" cy="986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714" tIns="26893" rIns="71714" bIns="26893"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IN" sz="1568" kern="0" dirty="0">
                <a:solidFill>
                  <a:schemeClr val="bg1"/>
                </a:solidFill>
                <a:ea typeface="Segoe UI" pitchFamily="34" charset="0"/>
                <a:cs typeface="Segoe UI" pitchFamily="34" charset="0"/>
              </a:rPr>
              <a:t>Cluster customization (custom script running)</a:t>
            </a:r>
          </a:p>
        </p:txBody>
      </p:sp>
      <p:cxnSp>
        <p:nvCxnSpPr>
          <p:cNvPr id="33" name="Straight Arrow Connector 32"/>
          <p:cNvCxnSpPr>
            <a:stCxn id="14" idx="3"/>
            <a:endCxn id="18" idx="1"/>
          </p:cNvCxnSpPr>
          <p:nvPr/>
        </p:nvCxnSpPr>
        <p:spPr>
          <a:xfrm>
            <a:off x="5977397" y="2635519"/>
            <a:ext cx="531201" cy="0"/>
          </a:xfrm>
          <a:prstGeom prst="straightConnector1">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18" idx="3"/>
            <a:endCxn id="19" idx="1"/>
          </p:cNvCxnSpPr>
          <p:nvPr/>
        </p:nvCxnSpPr>
        <p:spPr>
          <a:xfrm>
            <a:off x="7853235" y="2635519"/>
            <a:ext cx="531201" cy="0"/>
          </a:xfrm>
          <a:prstGeom prst="straightConnector1">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19" idx="3"/>
            <a:endCxn id="20" idx="1"/>
          </p:cNvCxnSpPr>
          <p:nvPr/>
        </p:nvCxnSpPr>
        <p:spPr>
          <a:xfrm>
            <a:off x="9729074" y="2635519"/>
            <a:ext cx="531201" cy="0"/>
          </a:xfrm>
          <a:prstGeom prst="straightConnector1">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stCxn id="20" idx="2"/>
            <a:endCxn id="26" idx="0"/>
          </p:cNvCxnSpPr>
          <p:nvPr/>
        </p:nvCxnSpPr>
        <p:spPr>
          <a:xfrm>
            <a:off x="10932593" y="3128552"/>
            <a:ext cx="0" cy="422859"/>
          </a:xfrm>
          <a:prstGeom prst="straightConnector1">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26" idx="1"/>
          </p:cNvCxnSpPr>
          <p:nvPr/>
        </p:nvCxnSpPr>
        <p:spPr>
          <a:xfrm flipH="1" flipV="1">
            <a:off x="9729074" y="4044080"/>
            <a:ext cx="531201" cy="366"/>
          </a:xfrm>
          <a:prstGeom prst="straightConnector1">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flipH="1" flipV="1">
            <a:off x="7853235" y="4044080"/>
            <a:ext cx="531201" cy="366"/>
          </a:xfrm>
          <a:prstGeom prst="straightConnector1">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flipH="1" flipV="1">
            <a:off x="5977397" y="4044445"/>
            <a:ext cx="531201" cy="0"/>
          </a:xfrm>
          <a:prstGeom prst="straightConnector1">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a:stCxn id="25" idx="4"/>
            <a:endCxn id="27" idx="0"/>
          </p:cNvCxnSpPr>
          <p:nvPr/>
        </p:nvCxnSpPr>
        <p:spPr>
          <a:xfrm>
            <a:off x="9056755" y="4653316"/>
            <a:ext cx="7010" cy="306291"/>
          </a:xfrm>
          <a:prstGeom prst="straightConnector1">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a:stCxn id="27" idx="1"/>
            <a:endCxn id="24" idx="2"/>
          </p:cNvCxnSpPr>
          <p:nvPr/>
        </p:nvCxnSpPr>
        <p:spPr>
          <a:xfrm rot="10800000">
            <a:off x="7180918" y="4537114"/>
            <a:ext cx="944929" cy="915527"/>
          </a:xfrm>
          <a:prstGeom prst="bentConnector2">
            <a:avLst/>
          </a:prstGeom>
          <a:ln w="9525">
            <a:solidFill>
              <a:schemeClr val="bg1">
                <a:lumMod val="50000"/>
              </a:schemeClr>
            </a:solidFill>
            <a:headEnd type="none"/>
            <a:tailEnd type="triangle" w="med" len="sm"/>
          </a:ln>
        </p:spPr>
        <p:style>
          <a:lnRef idx="1">
            <a:schemeClr val="accent1"/>
          </a:lnRef>
          <a:fillRef idx="0">
            <a:schemeClr val="accent1"/>
          </a:fillRef>
          <a:effectRef idx="0">
            <a:schemeClr val="accent1"/>
          </a:effectRef>
          <a:fontRef idx="minor">
            <a:schemeClr val="tx1"/>
          </a:fontRef>
        </p:style>
      </p:cxnSp>
      <p:grpSp>
        <p:nvGrpSpPr>
          <p:cNvPr id="74" name="Group 73"/>
          <p:cNvGrpSpPr/>
          <p:nvPr/>
        </p:nvGrpSpPr>
        <p:grpSpPr>
          <a:xfrm>
            <a:off x="455993" y="3073535"/>
            <a:ext cx="3783350" cy="1682352"/>
            <a:chOff x="465136" y="3134668"/>
            <a:chExt cx="3859214" cy="1716087"/>
          </a:xfrm>
        </p:grpSpPr>
        <p:sp>
          <p:nvSpPr>
            <p:cNvPr id="9" name="Freeform 8"/>
            <p:cNvSpPr>
              <a:spLocks/>
            </p:cNvSpPr>
            <p:nvPr/>
          </p:nvSpPr>
          <p:spPr bwMode="auto">
            <a:xfrm>
              <a:off x="595916" y="3693268"/>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89642" tIns="44821" rIns="89642" bIns="44821" numCol="1" anchor="t" anchorCtr="0" compatLnSpc="1">
              <a:prstTxWarp prst="textNoShape">
                <a:avLst/>
              </a:prstTxWarp>
            </a:bodyPr>
            <a:lstStyle/>
            <a:p>
              <a:pPr defTabSz="896386"/>
              <a:endParaRPr lang="en-IN" sz="1765" kern="0">
                <a:solidFill>
                  <a:srgbClr val="000000"/>
                </a:solidFill>
              </a:endParaRPr>
            </a:p>
          </p:txBody>
        </p:sp>
        <p:sp>
          <p:nvSpPr>
            <p:cNvPr id="10" name="Freeform 9"/>
            <p:cNvSpPr>
              <a:spLocks/>
            </p:cNvSpPr>
            <p:nvPr/>
          </p:nvSpPr>
          <p:spPr bwMode="auto">
            <a:xfrm>
              <a:off x="572440" y="4057715"/>
              <a:ext cx="341433" cy="258984"/>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3">
                <a:lumMod val="50000"/>
              </a:schemeClr>
            </a:solidFill>
            <a:ln>
              <a:noFill/>
            </a:ln>
          </p:spPr>
          <p:txBody>
            <a:bodyPr vert="horz" wrap="square" lIns="89642" tIns="44821" rIns="89642" bIns="44821" numCol="1" anchor="t" anchorCtr="0" compatLnSpc="1">
              <a:prstTxWarp prst="textNoShape">
                <a:avLst/>
              </a:prstTxWarp>
            </a:bodyPr>
            <a:lstStyle/>
            <a:p>
              <a:pPr defTabSz="896386"/>
              <a:endParaRPr lang="en-IN" sz="1765" kern="0">
                <a:solidFill>
                  <a:srgbClr val="000000"/>
                </a:solidFill>
              </a:endParaRPr>
            </a:p>
          </p:txBody>
        </p:sp>
        <p:grpSp>
          <p:nvGrpSpPr>
            <p:cNvPr id="71" name="Group 70"/>
            <p:cNvGrpSpPr/>
            <p:nvPr/>
          </p:nvGrpSpPr>
          <p:grpSpPr>
            <a:xfrm>
              <a:off x="465136" y="3134668"/>
              <a:ext cx="3859214" cy="1716087"/>
              <a:chOff x="465136" y="3152690"/>
              <a:chExt cx="3859214" cy="1716087"/>
            </a:xfrm>
          </p:grpSpPr>
          <p:sp>
            <p:nvSpPr>
              <p:cNvPr id="65" name="Rectangle 64"/>
              <p:cNvSpPr/>
              <p:nvPr/>
            </p:nvSpPr>
            <p:spPr bwMode="auto">
              <a:xfrm>
                <a:off x="465136" y="3614355"/>
                <a:ext cx="3859214" cy="1254422"/>
              </a:xfrm>
              <a:prstGeom prst="rect">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547792" lvl="2" defTabSz="913505" fontAlgn="base">
                  <a:spcBef>
                    <a:spcPts val="588"/>
                  </a:spcBef>
                  <a:spcAft>
                    <a:spcPct val="0"/>
                  </a:spcAft>
                  <a:buSzPct val="90000"/>
                </a:pPr>
                <a:r>
                  <a:rPr lang="en-US" sz="1961" kern="0" dirty="0" err="1">
                    <a:solidFill>
                      <a:schemeClr val="tx2"/>
                    </a:solidFill>
                    <a:ea typeface="ＭＳ Ｐゴシック" charset="0"/>
                  </a:rPr>
                  <a:t>Config</a:t>
                </a:r>
                <a:r>
                  <a:rPr lang="en-US" sz="1961" kern="0" dirty="0">
                    <a:solidFill>
                      <a:schemeClr val="tx2"/>
                    </a:solidFill>
                    <a:ea typeface="ＭＳ Ｐゴシック" charset="0"/>
                  </a:rPr>
                  <a:t> values</a:t>
                </a:r>
              </a:p>
              <a:p>
                <a:pPr marL="547792" lvl="2" defTabSz="913505" fontAlgn="base">
                  <a:spcBef>
                    <a:spcPts val="588"/>
                  </a:spcBef>
                  <a:spcAft>
                    <a:spcPct val="0"/>
                  </a:spcAft>
                  <a:buSzPct val="90000"/>
                </a:pPr>
                <a:r>
                  <a:rPr lang="en-US" sz="1961" kern="0" dirty="0">
                    <a:solidFill>
                      <a:schemeClr val="tx2"/>
                    </a:solidFill>
                    <a:ea typeface="ＭＳ Ｐゴシック" charset="0"/>
                  </a:rPr>
                  <a:t>JAR file placement in cluster </a:t>
                </a:r>
              </a:p>
            </p:txBody>
          </p:sp>
          <p:sp>
            <p:nvSpPr>
              <p:cNvPr id="66" name="Rectangle 65"/>
              <p:cNvSpPr/>
              <p:nvPr/>
            </p:nvSpPr>
            <p:spPr bwMode="auto">
              <a:xfrm>
                <a:off x="465136" y="3152690"/>
                <a:ext cx="3859214" cy="461665"/>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spAutoFit/>
              </a:bodyPr>
              <a:lstStyle/>
              <a:p>
                <a:pPr algn="ctr" defTabSz="914102" fontAlgn="base">
                  <a:spcBef>
                    <a:spcPct val="0"/>
                  </a:spcBef>
                  <a:spcAft>
                    <a:spcPct val="0"/>
                  </a:spcAft>
                </a:pPr>
                <a:r>
                  <a:rPr lang="en-IN" sz="2353" kern="0" dirty="0">
                    <a:solidFill>
                      <a:schemeClr val="bg1"/>
                    </a:solidFill>
                    <a:latin typeface="+mj-lt"/>
                    <a:ea typeface="Segoe UI" pitchFamily="34" charset="0"/>
                    <a:cs typeface="Segoe UI" pitchFamily="34" charset="0"/>
                  </a:rPr>
                  <a:t>Via scripting / SDK</a:t>
                </a:r>
              </a:p>
            </p:txBody>
          </p:sp>
        </p:grpSp>
      </p:grpSp>
      <p:sp>
        <p:nvSpPr>
          <p:cNvPr id="78" name="TextBox 77"/>
          <p:cNvSpPr txBox="1"/>
          <p:nvPr/>
        </p:nvSpPr>
        <p:spPr>
          <a:xfrm>
            <a:off x="8000973" y="3796644"/>
            <a:ext cx="235723" cy="190087"/>
          </a:xfrm>
          <a:prstGeom prst="rect">
            <a:avLst/>
          </a:prstGeom>
          <a:noFill/>
        </p:spPr>
        <p:txBody>
          <a:bodyPr wrap="square" lIns="0" tIns="0" rIns="0" bIns="0" rtlCol="0">
            <a:spAutoFit/>
          </a:bodyPr>
          <a:lstStyle/>
          <a:p>
            <a:pPr defTabSz="896386">
              <a:lnSpc>
                <a:spcPct val="90000"/>
              </a:lnSpc>
              <a:spcAft>
                <a:spcPts val="588"/>
              </a:spcAft>
            </a:pPr>
            <a:r>
              <a:rPr lang="en-IN" sz="1372" kern="0" dirty="0">
                <a:solidFill>
                  <a:schemeClr val="tx2"/>
                </a:solidFill>
              </a:rPr>
              <a:t>No</a:t>
            </a:r>
          </a:p>
        </p:txBody>
      </p:sp>
      <p:sp>
        <p:nvSpPr>
          <p:cNvPr id="79" name="TextBox 78"/>
          <p:cNvSpPr txBox="1"/>
          <p:nvPr/>
        </p:nvSpPr>
        <p:spPr>
          <a:xfrm>
            <a:off x="9227275" y="4703116"/>
            <a:ext cx="356992" cy="190052"/>
          </a:xfrm>
          <a:prstGeom prst="rect">
            <a:avLst/>
          </a:prstGeom>
          <a:noFill/>
        </p:spPr>
        <p:txBody>
          <a:bodyPr wrap="square" lIns="0" tIns="0" rIns="0" bIns="0" rtlCol="0">
            <a:spAutoFit/>
          </a:bodyPr>
          <a:lstStyle/>
          <a:p>
            <a:pPr defTabSz="896386">
              <a:lnSpc>
                <a:spcPct val="90000"/>
              </a:lnSpc>
              <a:spcAft>
                <a:spcPts val="588"/>
              </a:spcAft>
            </a:pPr>
            <a:r>
              <a:rPr lang="en-IN" sz="1372" kern="0" dirty="0">
                <a:solidFill>
                  <a:schemeClr val="tx2"/>
                </a:solidFill>
              </a:rPr>
              <a:t>Yes</a:t>
            </a:r>
          </a:p>
        </p:txBody>
      </p:sp>
    </p:spTree>
    <p:extLst>
      <p:ext uri="{BB962C8B-B14F-4D97-AF65-F5344CB8AC3E}">
        <p14:creationId xmlns:p14="http://schemas.microsoft.com/office/powerpoint/2010/main" val="22801246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3"/>
                                        </p:tgtEl>
                                        <p:attrNameLst>
                                          <p:attrName>style.visibility</p:attrName>
                                        </p:attrNameLst>
                                      </p:cBhvr>
                                      <p:to>
                                        <p:strVal val="visible"/>
                                      </p:to>
                                    </p:set>
                                    <p:animEffect transition="in" filter="fade">
                                      <p:cBhvr>
                                        <p:cTn id="7" dur="500"/>
                                        <p:tgtEl>
                                          <p:spTgt spid="7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4"/>
                                        </p:tgtEl>
                                        <p:attrNameLst>
                                          <p:attrName>style.visibility</p:attrName>
                                        </p:attrNameLst>
                                      </p:cBhvr>
                                      <p:to>
                                        <p:strVal val="visible"/>
                                      </p:to>
                                    </p:set>
                                    <p:animEffect transition="in" filter="fade">
                                      <p:cBhvr>
                                        <p:cTn id="12" dur="500"/>
                                        <p:tgtEl>
                                          <p:spTgt spid="7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6"/>
                                        </p:tgtEl>
                                        <p:attrNameLst>
                                          <p:attrName>style.visibility</p:attrName>
                                        </p:attrNameLst>
                                      </p:cBhvr>
                                      <p:to>
                                        <p:strVal val="visible"/>
                                      </p:to>
                                    </p:set>
                                    <p:animEffect transition="in" filter="fade">
                                      <p:cBhvr>
                                        <p:cTn id="17" dur="500"/>
                                        <p:tgtEl>
                                          <p:spTgt spid="76"/>
                                        </p:tgtEl>
                                      </p:cBhvr>
                                    </p:animEffect>
                                  </p:childTnLst>
                                </p:cTn>
                              </p:par>
                            </p:childTnLst>
                          </p:cTn>
                        </p:par>
                        <p:par>
                          <p:cTn id="18" fill="hold">
                            <p:stCondLst>
                              <p:cond delay="500"/>
                            </p:stCondLst>
                            <p:childTnLst>
                              <p:par>
                                <p:cTn id="19" presetID="22" presetClass="entr" presetSubtype="8" fill="hold" grpId="0" nodeType="after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wipe(left)">
                                      <p:cBhvr>
                                        <p:cTn id="21" dur="500"/>
                                        <p:tgtEl>
                                          <p:spTgt spid="14"/>
                                        </p:tgtEl>
                                      </p:cBhvr>
                                    </p:animEffect>
                                  </p:childTnLst>
                                </p:cTn>
                              </p:par>
                            </p:childTnLst>
                          </p:cTn>
                        </p:par>
                        <p:par>
                          <p:cTn id="22" fill="hold">
                            <p:stCondLst>
                              <p:cond delay="1000"/>
                            </p:stCondLst>
                            <p:childTnLst>
                              <p:par>
                                <p:cTn id="23" presetID="22" presetClass="entr" presetSubtype="8" fill="hold" nodeType="afterEffect">
                                  <p:stCondLst>
                                    <p:cond delay="0"/>
                                  </p:stCondLst>
                                  <p:childTnLst>
                                    <p:set>
                                      <p:cBhvr>
                                        <p:cTn id="24" dur="1" fill="hold">
                                          <p:stCondLst>
                                            <p:cond delay="0"/>
                                          </p:stCondLst>
                                        </p:cTn>
                                        <p:tgtEl>
                                          <p:spTgt spid="33"/>
                                        </p:tgtEl>
                                        <p:attrNameLst>
                                          <p:attrName>style.visibility</p:attrName>
                                        </p:attrNameLst>
                                      </p:cBhvr>
                                      <p:to>
                                        <p:strVal val="visible"/>
                                      </p:to>
                                    </p:set>
                                    <p:animEffect transition="in" filter="wipe(left)">
                                      <p:cBhvr>
                                        <p:cTn id="25" dur="500"/>
                                        <p:tgtEl>
                                          <p:spTgt spid="33"/>
                                        </p:tgtEl>
                                      </p:cBhvr>
                                    </p:animEffect>
                                  </p:childTnLst>
                                </p:cTn>
                              </p:par>
                            </p:childTnLst>
                          </p:cTn>
                        </p:par>
                        <p:par>
                          <p:cTn id="26" fill="hold">
                            <p:stCondLst>
                              <p:cond delay="1500"/>
                            </p:stCondLst>
                            <p:childTnLst>
                              <p:par>
                                <p:cTn id="27" presetID="22" presetClass="entr" presetSubtype="8" fill="hold" grpId="0" nodeType="after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wipe(left)">
                                      <p:cBhvr>
                                        <p:cTn id="29" dur="500"/>
                                        <p:tgtEl>
                                          <p:spTgt spid="18"/>
                                        </p:tgtEl>
                                      </p:cBhvr>
                                    </p:animEffect>
                                  </p:childTnLst>
                                </p:cTn>
                              </p:par>
                            </p:childTnLst>
                          </p:cTn>
                        </p:par>
                        <p:par>
                          <p:cTn id="30" fill="hold">
                            <p:stCondLst>
                              <p:cond delay="2000"/>
                            </p:stCondLst>
                            <p:childTnLst>
                              <p:par>
                                <p:cTn id="31" presetID="22" presetClass="entr" presetSubtype="8" fill="hold" nodeType="afterEffect">
                                  <p:stCondLst>
                                    <p:cond delay="0"/>
                                  </p:stCondLst>
                                  <p:childTnLst>
                                    <p:set>
                                      <p:cBhvr>
                                        <p:cTn id="32" dur="1" fill="hold">
                                          <p:stCondLst>
                                            <p:cond delay="0"/>
                                          </p:stCondLst>
                                        </p:cTn>
                                        <p:tgtEl>
                                          <p:spTgt spid="37"/>
                                        </p:tgtEl>
                                        <p:attrNameLst>
                                          <p:attrName>style.visibility</p:attrName>
                                        </p:attrNameLst>
                                      </p:cBhvr>
                                      <p:to>
                                        <p:strVal val="visible"/>
                                      </p:to>
                                    </p:set>
                                    <p:animEffect transition="in" filter="wipe(left)">
                                      <p:cBhvr>
                                        <p:cTn id="33" dur="500"/>
                                        <p:tgtEl>
                                          <p:spTgt spid="37"/>
                                        </p:tgtEl>
                                      </p:cBhvr>
                                    </p:animEffect>
                                  </p:childTnLst>
                                </p:cTn>
                              </p:par>
                            </p:childTnLst>
                          </p:cTn>
                        </p:par>
                        <p:par>
                          <p:cTn id="34" fill="hold">
                            <p:stCondLst>
                              <p:cond delay="2500"/>
                            </p:stCondLst>
                            <p:childTnLst>
                              <p:par>
                                <p:cTn id="35" presetID="22" presetClass="entr" presetSubtype="8" fill="hold" grpId="0" nodeType="after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wipe(left)">
                                      <p:cBhvr>
                                        <p:cTn id="37" dur="500"/>
                                        <p:tgtEl>
                                          <p:spTgt spid="19"/>
                                        </p:tgtEl>
                                      </p:cBhvr>
                                    </p:animEffect>
                                  </p:childTnLst>
                                </p:cTn>
                              </p:par>
                            </p:childTnLst>
                          </p:cTn>
                        </p:par>
                        <p:par>
                          <p:cTn id="38" fill="hold">
                            <p:stCondLst>
                              <p:cond delay="3000"/>
                            </p:stCondLst>
                            <p:childTnLst>
                              <p:par>
                                <p:cTn id="39" presetID="22" presetClass="entr" presetSubtype="8" fill="hold" nodeType="afterEffect">
                                  <p:stCondLst>
                                    <p:cond delay="0"/>
                                  </p:stCondLst>
                                  <p:childTnLst>
                                    <p:set>
                                      <p:cBhvr>
                                        <p:cTn id="40" dur="1" fill="hold">
                                          <p:stCondLst>
                                            <p:cond delay="0"/>
                                          </p:stCondLst>
                                        </p:cTn>
                                        <p:tgtEl>
                                          <p:spTgt spid="40"/>
                                        </p:tgtEl>
                                        <p:attrNameLst>
                                          <p:attrName>style.visibility</p:attrName>
                                        </p:attrNameLst>
                                      </p:cBhvr>
                                      <p:to>
                                        <p:strVal val="visible"/>
                                      </p:to>
                                    </p:set>
                                    <p:animEffect transition="in" filter="wipe(left)">
                                      <p:cBhvr>
                                        <p:cTn id="41" dur="500"/>
                                        <p:tgtEl>
                                          <p:spTgt spid="40"/>
                                        </p:tgtEl>
                                      </p:cBhvr>
                                    </p:animEffect>
                                  </p:childTnLst>
                                </p:cTn>
                              </p:par>
                            </p:childTnLst>
                          </p:cTn>
                        </p:par>
                        <p:par>
                          <p:cTn id="42" fill="hold">
                            <p:stCondLst>
                              <p:cond delay="3500"/>
                            </p:stCondLst>
                            <p:childTnLst>
                              <p:par>
                                <p:cTn id="43" presetID="22" presetClass="entr" presetSubtype="8" fill="hold" grpId="0" nodeType="afterEffect">
                                  <p:stCondLst>
                                    <p:cond delay="0"/>
                                  </p:stCondLst>
                                  <p:childTnLst>
                                    <p:set>
                                      <p:cBhvr>
                                        <p:cTn id="44" dur="1" fill="hold">
                                          <p:stCondLst>
                                            <p:cond delay="0"/>
                                          </p:stCondLst>
                                        </p:cTn>
                                        <p:tgtEl>
                                          <p:spTgt spid="20"/>
                                        </p:tgtEl>
                                        <p:attrNameLst>
                                          <p:attrName>style.visibility</p:attrName>
                                        </p:attrNameLst>
                                      </p:cBhvr>
                                      <p:to>
                                        <p:strVal val="visible"/>
                                      </p:to>
                                    </p:set>
                                    <p:animEffect transition="in" filter="wipe(left)">
                                      <p:cBhvr>
                                        <p:cTn id="45" dur="500"/>
                                        <p:tgtEl>
                                          <p:spTgt spid="20"/>
                                        </p:tgtEl>
                                      </p:cBhvr>
                                    </p:animEffect>
                                  </p:childTnLst>
                                </p:cTn>
                              </p:par>
                            </p:childTnLst>
                          </p:cTn>
                        </p:par>
                        <p:par>
                          <p:cTn id="46" fill="hold">
                            <p:stCondLst>
                              <p:cond delay="4000"/>
                            </p:stCondLst>
                            <p:childTnLst>
                              <p:par>
                                <p:cTn id="47" presetID="22" presetClass="entr" presetSubtype="1" fill="hold" nodeType="afterEffect">
                                  <p:stCondLst>
                                    <p:cond delay="0"/>
                                  </p:stCondLst>
                                  <p:childTnLst>
                                    <p:set>
                                      <p:cBhvr>
                                        <p:cTn id="48" dur="1" fill="hold">
                                          <p:stCondLst>
                                            <p:cond delay="0"/>
                                          </p:stCondLst>
                                        </p:cTn>
                                        <p:tgtEl>
                                          <p:spTgt spid="43"/>
                                        </p:tgtEl>
                                        <p:attrNameLst>
                                          <p:attrName>style.visibility</p:attrName>
                                        </p:attrNameLst>
                                      </p:cBhvr>
                                      <p:to>
                                        <p:strVal val="visible"/>
                                      </p:to>
                                    </p:set>
                                    <p:animEffect transition="in" filter="wipe(up)">
                                      <p:cBhvr>
                                        <p:cTn id="49" dur="500"/>
                                        <p:tgtEl>
                                          <p:spTgt spid="43"/>
                                        </p:tgtEl>
                                      </p:cBhvr>
                                    </p:animEffect>
                                  </p:childTnLst>
                                </p:cTn>
                              </p:par>
                            </p:childTnLst>
                          </p:cTn>
                        </p:par>
                        <p:par>
                          <p:cTn id="50" fill="hold">
                            <p:stCondLst>
                              <p:cond delay="4500"/>
                            </p:stCondLst>
                            <p:childTnLst>
                              <p:par>
                                <p:cTn id="51" presetID="22" presetClass="entr" presetSubtype="2" fill="hold" grpId="0" nodeType="afterEffect">
                                  <p:stCondLst>
                                    <p:cond delay="0"/>
                                  </p:stCondLst>
                                  <p:childTnLst>
                                    <p:set>
                                      <p:cBhvr>
                                        <p:cTn id="52" dur="1" fill="hold">
                                          <p:stCondLst>
                                            <p:cond delay="0"/>
                                          </p:stCondLst>
                                        </p:cTn>
                                        <p:tgtEl>
                                          <p:spTgt spid="26"/>
                                        </p:tgtEl>
                                        <p:attrNameLst>
                                          <p:attrName>style.visibility</p:attrName>
                                        </p:attrNameLst>
                                      </p:cBhvr>
                                      <p:to>
                                        <p:strVal val="visible"/>
                                      </p:to>
                                    </p:set>
                                    <p:animEffect transition="in" filter="wipe(right)">
                                      <p:cBhvr>
                                        <p:cTn id="53" dur="500"/>
                                        <p:tgtEl>
                                          <p:spTgt spid="26"/>
                                        </p:tgtEl>
                                      </p:cBhvr>
                                    </p:animEffect>
                                  </p:childTnLst>
                                </p:cTn>
                              </p:par>
                            </p:childTnLst>
                          </p:cTn>
                        </p:par>
                        <p:par>
                          <p:cTn id="54" fill="hold">
                            <p:stCondLst>
                              <p:cond delay="5000"/>
                            </p:stCondLst>
                            <p:childTnLst>
                              <p:par>
                                <p:cTn id="55" presetID="22" presetClass="entr" presetSubtype="2" fill="hold" nodeType="afterEffect">
                                  <p:stCondLst>
                                    <p:cond delay="0"/>
                                  </p:stCondLst>
                                  <p:childTnLst>
                                    <p:set>
                                      <p:cBhvr>
                                        <p:cTn id="56" dur="1" fill="hold">
                                          <p:stCondLst>
                                            <p:cond delay="0"/>
                                          </p:stCondLst>
                                        </p:cTn>
                                        <p:tgtEl>
                                          <p:spTgt spid="47"/>
                                        </p:tgtEl>
                                        <p:attrNameLst>
                                          <p:attrName>style.visibility</p:attrName>
                                        </p:attrNameLst>
                                      </p:cBhvr>
                                      <p:to>
                                        <p:strVal val="visible"/>
                                      </p:to>
                                    </p:set>
                                    <p:animEffect transition="in" filter="wipe(right)">
                                      <p:cBhvr>
                                        <p:cTn id="57" dur="500"/>
                                        <p:tgtEl>
                                          <p:spTgt spid="47"/>
                                        </p:tgtEl>
                                      </p:cBhvr>
                                    </p:animEffect>
                                  </p:childTnLst>
                                </p:cTn>
                              </p:par>
                            </p:childTnLst>
                          </p:cTn>
                        </p:par>
                        <p:par>
                          <p:cTn id="58" fill="hold">
                            <p:stCondLst>
                              <p:cond delay="5500"/>
                            </p:stCondLst>
                            <p:childTnLst>
                              <p:par>
                                <p:cTn id="59" presetID="22" presetClass="entr" presetSubtype="2" fill="hold" grpId="0" nodeType="afterEffect">
                                  <p:stCondLst>
                                    <p:cond delay="0"/>
                                  </p:stCondLst>
                                  <p:childTnLst>
                                    <p:set>
                                      <p:cBhvr>
                                        <p:cTn id="60" dur="1" fill="hold">
                                          <p:stCondLst>
                                            <p:cond delay="0"/>
                                          </p:stCondLst>
                                        </p:cTn>
                                        <p:tgtEl>
                                          <p:spTgt spid="25"/>
                                        </p:tgtEl>
                                        <p:attrNameLst>
                                          <p:attrName>style.visibility</p:attrName>
                                        </p:attrNameLst>
                                      </p:cBhvr>
                                      <p:to>
                                        <p:strVal val="visible"/>
                                      </p:to>
                                    </p:set>
                                    <p:animEffect transition="in" filter="wipe(right)">
                                      <p:cBhvr>
                                        <p:cTn id="61" dur="500"/>
                                        <p:tgtEl>
                                          <p:spTgt spid="25"/>
                                        </p:tgtEl>
                                      </p:cBhvr>
                                    </p:animEffect>
                                  </p:childTnLst>
                                </p:cTn>
                              </p:par>
                            </p:childTnLst>
                          </p:cTn>
                        </p:par>
                        <p:par>
                          <p:cTn id="62" fill="hold">
                            <p:stCondLst>
                              <p:cond delay="6000"/>
                            </p:stCondLst>
                            <p:childTnLst>
                              <p:par>
                                <p:cTn id="63" presetID="22" presetClass="entr" presetSubtype="1" fill="hold" nodeType="afterEffect">
                                  <p:stCondLst>
                                    <p:cond delay="0"/>
                                  </p:stCondLst>
                                  <p:childTnLst>
                                    <p:set>
                                      <p:cBhvr>
                                        <p:cTn id="64" dur="1" fill="hold">
                                          <p:stCondLst>
                                            <p:cond delay="0"/>
                                          </p:stCondLst>
                                        </p:cTn>
                                        <p:tgtEl>
                                          <p:spTgt spid="58"/>
                                        </p:tgtEl>
                                        <p:attrNameLst>
                                          <p:attrName>style.visibility</p:attrName>
                                        </p:attrNameLst>
                                      </p:cBhvr>
                                      <p:to>
                                        <p:strVal val="visible"/>
                                      </p:to>
                                    </p:set>
                                    <p:animEffect transition="in" filter="wipe(up)">
                                      <p:cBhvr>
                                        <p:cTn id="65" dur="500"/>
                                        <p:tgtEl>
                                          <p:spTgt spid="58"/>
                                        </p:tgtEl>
                                      </p:cBhvr>
                                    </p:animEffect>
                                  </p:childTnLst>
                                </p:cTn>
                              </p:par>
                            </p:childTnLst>
                          </p:cTn>
                        </p:par>
                        <p:par>
                          <p:cTn id="66" fill="hold">
                            <p:stCondLst>
                              <p:cond delay="6500"/>
                            </p:stCondLst>
                            <p:childTnLst>
                              <p:par>
                                <p:cTn id="67" presetID="22" presetClass="entr" presetSubtype="2" fill="hold" nodeType="afterEffect">
                                  <p:stCondLst>
                                    <p:cond delay="0"/>
                                  </p:stCondLst>
                                  <p:childTnLst>
                                    <p:set>
                                      <p:cBhvr>
                                        <p:cTn id="68" dur="1" fill="hold">
                                          <p:stCondLst>
                                            <p:cond delay="0"/>
                                          </p:stCondLst>
                                        </p:cTn>
                                        <p:tgtEl>
                                          <p:spTgt spid="51"/>
                                        </p:tgtEl>
                                        <p:attrNameLst>
                                          <p:attrName>style.visibility</p:attrName>
                                        </p:attrNameLst>
                                      </p:cBhvr>
                                      <p:to>
                                        <p:strVal val="visible"/>
                                      </p:to>
                                    </p:set>
                                    <p:animEffect transition="in" filter="wipe(right)">
                                      <p:cBhvr>
                                        <p:cTn id="69" dur="500"/>
                                        <p:tgtEl>
                                          <p:spTgt spid="51"/>
                                        </p:tgtEl>
                                      </p:cBhvr>
                                    </p:animEffect>
                                  </p:childTnLst>
                                </p:cTn>
                              </p:par>
                            </p:childTnLst>
                          </p:cTn>
                        </p:par>
                        <p:par>
                          <p:cTn id="70" fill="hold">
                            <p:stCondLst>
                              <p:cond delay="7000"/>
                            </p:stCondLst>
                            <p:childTnLst>
                              <p:par>
                                <p:cTn id="71" presetID="22" presetClass="entr" presetSubtype="1" fill="hold" grpId="0" nodeType="afterEffect">
                                  <p:stCondLst>
                                    <p:cond delay="0"/>
                                  </p:stCondLst>
                                  <p:childTnLst>
                                    <p:set>
                                      <p:cBhvr>
                                        <p:cTn id="72" dur="1" fill="hold">
                                          <p:stCondLst>
                                            <p:cond delay="0"/>
                                          </p:stCondLst>
                                        </p:cTn>
                                        <p:tgtEl>
                                          <p:spTgt spid="27"/>
                                        </p:tgtEl>
                                        <p:attrNameLst>
                                          <p:attrName>style.visibility</p:attrName>
                                        </p:attrNameLst>
                                      </p:cBhvr>
                                      <p:to>
                                        <p:strVal val="visible"/>
                                      </p:to>
                                    </p:set>
                                    <p:animEffect transition="in" filter="wipe(up)">
                                      <p:cBhvr>
                                        <p:cTn id="73" dur="500"/>
                                        <p:tgtEl>
                                          <p:spTgt spid="27"/>
                                        </p:tgtEl>
                                      </p:cBhvr>
                                    </p:animEffect>
                                  </p:childTnLst>
                                </p:cTn>
                              </p:par>
                            </p:childTnLst>
                          </p:cTn>
                        </p:par>
                        <p:par>
                          <p:cTn id="74" fill="hold">
                            <p:stCondLst>
                              <p:cond delay="7500"/>
                            </p:stCondLst>
                            <p:childTnLst>
                              <p:par>
                                <p:cTn id="75" presetID="10" presetClass="entr" presetSubtype="0" fill="hold" grpId="0" nodeType="afterEffect">
                                  <p:stCondLst>
                                    <p:cond delay="0"/>
                                  </p:stCondLst>
                                  <p:childTnLst>
                                    <p:set>
                                      <p:cBhvr>
                                        <p:cTn id="76" dur="1" fill="hold">
                                          <p:stCondLst>
                                            <p:cond delay="0"/>
                                          </p:stCondLst>
                                        </p:cTn>
                                        <p:tgtEl>
                                          <p:spTgt spid="79"/>
                                        </p:tgtEl>
                                        <p:attrNameLst>
                                          <p:attrName>style.visibility</p:attrName>
                                        </p:attrNameLst>
                                      </p:cBhvr>
                                      <p:to>
                                        <p:strVal val="visible"/>
                                      </p:to>
                                    </p:set>
                                    <p:animEffect transition="in" filter="fade">
                                      <p:cBhvr>
                                        <p:cTn id="77" dur="500"/>
                                        <p:tgtEl>
                                          <p:spTgt spid="79"/>
                                        </p:tgtEl>
                                      </p:cBhvr>
                                    </p:animEffect>
                                  </p:childTnLst>
                                </p:cTn>
                              </p:par>
                              <p:par>
                                <p:cTn id="78" presetID="22" presetClass="entr" presetSubtype="2" fill="hold" nodeType="withEffect">
                                  <p:stCondLst>
                                    <p:cond delay="0"/>
                                  </p:stCondLst>
                                  <p:childTnLst>
                                    <p:set>
                                      <p:cBhvr>
                                        <p:cTn id="79" dur="1" fill="hold">
                                          <p:stCondLst>
                                            <p:cond delay="0"/>
                                          </p:stCondLst>
                                        </p:cTn>
                                        <p:tgtEl>
                                          <p:spTgt spid="61"/>
                                        </p:tgtEl>
                                        <p:attrNameLst>
                                          <p:attrName>style.visibility</p:attrName>
                                        </p:attrNameLst>
                                      </p:cBhvr>
                                      <p:to>
                                        <p:strVal val="visible"/>
                                      </p:to>
                                    </p:set>
                                    <p:animEffect transition="in" filter="wipe(right)">
                                      <p:cBhvr>
                                        <p:cTn id="80" dur="500"/>
                                        <p:tgtEl>
                                          <p:spTgt spid="61"/>
                                        </p:tgtEl>
                                      </p:cBhvr>
                                    </p:animEffect>
                                  </p:childTnLst>
                                </p:cTn>
                              </p:par>
                            </p:childTnLst>
                          </p:cTn>
                        </p:par>
                        <p:par>
                          <p:cTn id="81" fill="hold">
                            <p:stCondLst>
                              <p:cond delay="8000"/>
                            </p:stCondLst>
                            <p:childTnLst>
                              <p:par>
                                <p:cTn id="82" presetID="22" presetClass="entr" presetSubtype="2" fill="hold" grpId="0" nodeType="afterEffect">
                                  <p:stCondLst>
                                    <p:cond delay="0"/>
                                  </p:stCondLst>
                                  <p:childTnLst>
                                    <p:set>
                                      <p:cBhvr>
                                        <p:cTn id="83" dur="1" fill="hold">
                                          <p:stCondLst>
                                            <p:cond delay="0"/>
                                          </p:stCondLst>
                                        </p:cTn>
                                        <p:tgtEl>
                                          <p:spTgt spid="24"/>
                                        </p:tgtEl>
                                        <p:attrNameLst>
                                          <p:attrName>style.visibility</p:attrName>
                                        </p:attrNameLst>
                                      </p:cBhvr>
                                      <p:to>
                                        <p:strVal val="visible"/>
                                      </p:to>
                                    </p:set>
                                    <p:animEffect transition="in" filter="wipe(right)">
                                      <p:cBhvr>
                                        <p:cTn id="84" dur="500"/>
                                        <p:tgtEl>
                                          <p:spTgt spid="24"/>
                                        </p:tgtEl>
                                      </p:cBhvr>
                                    </p:animEffect>
                                  </p:childTnLst>
                                </p:cTn>
                              </p:par>
                            </p:childTnLst>
                          </p:cTn>
                        </p:par>
                        <p:par>
                          <p:cTn id="85" fill="hold">
                            <p:stCondLst>
                              <p:cond delay="8500"/>
                            </p:stCondLst>
                            <p:childTnLst>
                              <p:par>
                                <p:cTn id="86" presetID="10" presetClass="entr" presetSubtype="0" fill="hold" grpId="0" nodeType="afterEffect">
                                  <p:stCondLst>
                                    <p:cond delay="0"/>
                                  </p:stCondLst>
                                  <p:childTnLst>
                                    <p:set>
                                      <p:cBhvr>
                                        <p:cTn id="87" dur="1" fill="hold">
                                          <p:stCondLst>
                                            <p:cond delay="0"/>
                                          </p:stCondLst>
                                        </p:cTn>
                                        <p:tgtEl>
                                          <p:spTgt spid="78"/>
                                        </p:tgtEl>
                                        <p:attrNameLst>
                                          <p:attrName>style.visibility</p:attrName>
                                        </p:attrNameLst>
                                      </p:cBhvr>
                                      <p:to>
                                        <p:strVal val="visible"/>
                                      </p:to>
                                    </p:set>
                                    <p:animEffect transition="in" filter="fade">
                                      <p:cBhvr>
                                        <p:cTn id="88" dur="500"/>
                                        <p:tgtEl>
                                          <p:spTgt spid="78"/>
                                        </p:tgtEl>
                                      </p:cBhvr>
                                    </p:animEffect>
                                  </p:childTnLst>
                                </p:cTn>
                              </p:par>
                            </p:childTnLst>
                          </p:cTn>
                        </p:par>
                        <p:par>
                          <p:cTn id="89" fill="hold">
                            <p:stCondLst>
                              <p:cond delay="9000"/>
                            </p:stCondLst>
                            <p:childTnLst>
                              <p:par>
                                <p:cTn id="90" presetID="22" presetClass="entr" presetSubtype="2" fill="hold" nodeType="afterEffect">
                                  <p:stCondLst>
                                    <p:cond delay="0"/>
                                  </p:stCondLst>
                                  <p:childTnLst>
                                    <p:set>
                                      <p:cBhvr>
                                        <p:cTn id="91" dur="1" fill="hold">
                                          <p:stCondLst>
                                            <p:cond delay="0"/>
                                          </p:stCondLst>
                                        </p:cTn>
                                        <p:tgtEl>
                                          <p:spTgt spid="54"/>
                                        </p:tgtEl>
                                        <p:attrNameLst>
                                          <p:attrName>style.visibility</p:attrName>
                                        </p:attrNameLst>
                                      </p:cBhvr>
                                      <p:to>
                                        <p:strVal val="visible"/>
                                      </p:to>
                                    </p:set>
                                    <p:animEffect transition="in" filter="wipe(right)">
                                      <p:cBhvr>
                                        <p:cTn id="92" dur="500"/>
                                        <p:tgtEl>
                                          <p:spTgt spid="54"/>
                                        </p:tgtEl>
                                      </p:cBhvr>
                                    </p:animEffect>
                                  </p:childTnLst>
                                </p:cTn>
                              </p:par>
                            </p:childTnLst>
                          </p:cTn>
                        </p:par>
                        <p:par>
                          <p:cTn id="93" fill="hold">
                            <p:stCondLst>
                              <p:cond delay="9500"/>
                            </p:stCondLst>
                            <p:childTnLst>
                              <p:par>
                                <p:cTn id="94" presetID="22" presetClass="entr" presetSubtype="2" fill="hold" grpId="0" nodeType="afterEffect">
                                  <p:stCondLst>
                                    <p:cond delay="0"/>
                                  </p:stCondLst>
                                  <p:childTnLst>
                                    <p:set>
                                      <p:cBhvr>
                                        <p:cTn id="95" dur="1" fill="hold">
                                          <p:stCondLst>
                                            <p:cond delay="0"/>
                                          </p:stCondLst>
                                        </p:cTn>
                                        <p:tgtEl>
                                          <p:spTgt spid="21"/>
                                        </p:tgtEl>
                                        <p:attrNameLst>
                                          <p:attrName>style.visibility</p:attrName>
                                        </p:attrNameLst>
                                      </p:cBhvr>
                                      <p:to>
                                        <p:strVal val="visible"/>
                                      </p:to>
                                    </p:set>
                                    <p:animEffect transition="in" filter="wipe(right)">
                                      <p:cBhvr>
                                        <p:cTn id="96" dur="500"/>
                                        <p:tgtEl>
                                          <p:spTgt spid="21"/>
                                        </p:tgtEl>
                                      </p:cBhvr>
                                    </p:animEffect>
                                  </p:childTnLst>
                                </p:cTn>
                              </p:par>
                            </p:childTnLst>
                          </p:cTn>
                        </p:par>
                        <p:par>
                          <p:cTn id="97" fill="hold">
                            <p:stCondLst>
                              <p:cond delay="10000"/>
                            </p:stCondLst>
                            <p:childTnLst>
                              <p:par>
                                <p:cTn id="98" presetID="22" presetClass="entr" presetSubtype="2" fill="hold" grpId="0" nodeType="afterEffect">
                                  <p:stCondLst>
                                    <p:cond delay="0"/>
                                  </p:stCondLst>
                                  <p:childTnLst>
                                    <p:set>
                                      <p:cBhvr>
                                        <p:cTn id="99" dur="1" fill="hold">
                                          <p:stCondLst>
                                            <p:cond delay="0"/>
                                          </p:stCondLst>
                                        </p:cTn>
                                        <p:tgtEl>
                                          <p:spTgt spid="22"/>
                                        </p:tgtEl>
                                        <p:attrNameLst>
                                          <p:attrName>style.visibility</p:attrName>
                                        </p:attrNameLst>
                                      </p:cBhvr>
                                      <p:to>
                                        <p:strVal val="visible"/>
                                      </p:to>
                                    </p:set>
                                    <p:animEffect transition="in" filter="wipe(right)">
                                      <p:cBhvr>
                                        <p:cTn id="100" dur="500"/>
                                        <p:tgtEl>
                                          <p:spTgt spid="22"/>
                                        </p:tgtEl>
                                      </p:cBhvr>
                                    </p:animEffect>
                                  </p:childTnLst>
                                </p:cTn>
                              </p:par>
                            </p:childTnLst>
                          </p:cTn>
                        </p:par>
                        <p:par>
                          <p:cTn id="101" fill="hold">
                            <p:stCondLst>
                              <p:cond delay="10500"/>
                            </p:stCondLst>
                            <p:childTnLst>
                              <p:par>
                                <p:cTn id="102" presetID="22" presetClass="entr" presetSubtype="2" fill="hold" grpId="0" nodeType="afterEffect">
                                  <p:stCondLst>
                                    <p:cond delay="0"/>
                                  </p:stCondLst>
                                  <p:childTnLst>
                                    <p:set>
                                      <p:cBhvr>
                                        <p:cTn id="103" dur="1" fill="hold">
                                          <p:stCondLst>
                                            <p:cond delay="0"/>
                                          </p:stCondLst>
                                        </p:cTn>
                                        <p:tgtEl>
                                          <p:spTgt spid="23"/>
                                        </p:tgtEl>
                                        <p:attrNameLst>
                                          <p:attrName>style.visibility</p:attrName>
                                        </p:attrNameLst>
                                      </p:cBhvr>
                                      <p:to>
                                        <p:strVal val="visible"/>
                                      </p:to>
                                    </p:set>
                                    <p:animEffect transition="in" filter="wipe(right)">
                                      <p:cBhvr>
                                        <p:cTn id="104"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14" grpId="0" animBg="1"/>
      <p:bldP spid="18" grpId="0" animBg="1"/>
      <p:bldP spid="19" grpId="0" animBg="1"/>
      <p:bldP spid="20" grpId="0" animBg="1"/>
      <p:bldP spid="21" grpId="0" animBg="1"/>
      <p:bldP spid="22" grpId="0" animBg="1"/>
      <p:bldP spid="23" grpId="0" animBg="1"/>
      <p:bldP spid="24" grpId="0" animBg="1"/>
      <p:bldP spid="26" grpId="0" animBg="1"/>
      <p:bldP spid="27" grpId="0" animBg="1"/>
      <p:bldP spid="78" grpId="0"/>
      <p:bldP spid="79"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1122" y="86481"/>
            <a:ext cx="10515600" cy="1325563"/>
          </a:xfrm>
        </p:spPr>
        <p:txBody>
          <a:bodyPr/>
          <a:lstStyle/>
          <a:p>
            <a:r>
              <a:rPr lang="en-US" dirty="0"/>
              <a:t>In this module </a:t>
            </a:r>
          </a:p>
        </p:txBody>
      </p:sp>
      <p:graphicFrame>
        <p:nvGraphicFramePr>
          <p:cNvPr id="14" name="Content Placeholder 13"/>
          <p:cNvGraphicFramePr>
            <a:graphicFrameLocks noGrp="1"/>
          </p:cNvGraphicFramePr>
          <p:nvPr>
            <p:ph sz="quarter" idx="10"/>
            <p:extLst>
              <p:ext uri="{D42A27DB-BD31-4B8C-83A1-F6EECF244321}">
                <p14:modId xmlns:p14="http://schemas.microsoft.com/office/powerpoint/2010/main" val="852610064"/>
              </p:ext>
            </p:extLst>
          </p:nvPr>
        </p:nvGraphicFramePr>
        <p:xfrm>
          <a:off x="379413" y="1387475"/>
          <a:ext cx="11525250" cy="52911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278327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Hadoop Batch Process</a:t>
            </a:r>
            <a:endParaRPr lang="en-US" sz="2400" dirty="0"/>
          </a:p>
        </p:txBody>
      </p:sp>
      <p:sp>
        <p:nvSpPr>
          <p:cNvPr id="3" name="Content Placeholder 2"/>
          <p:cNvSpPr>
            <a:spLocks noGrp="1"/>
          </p:cNvSpPr>
          <p:nvPr>
            <p:ph sz="quarter" idx="10"/>
          </p:nvPr>
        </p:nvSpPr>
        <p:spPr>
          <a:xfrm>
            <a:off x="379413" y="914400"/>
            <a:ext cx="11525250" cy="5764214"/>
          </a:xfrm>
        </p:spPr>
        <p:txBody>
          <a:bodyPr/>
          <a:lstStyle/>
          <a:p>
            <a:pPr marL="0" indent="0">
              <a:buNone/>
            </a:pPr>
            <a:endParaRPr lang="en-US" dirty="0">
              <a:latin typeface="+mn-lt"/>
            </a:endParaRPr>
          </a:p>
          <a:p>
            <a:r>
              <a:rPr lang="en-US" dirty="0"/>
              <a:t>Cold path in the Big Data Lambda Architecture</a:t>
            </a:r>
          </a:p>
          <a:p>
            <a:r>
              <a:rPr lang="en-US" dirty="0"/>
              <a:t>Map reduce programming model</a:t>
            </a:r>
          </a:p>
          <a:p>
            <a:r>
              <a:rPr lang="en-US" dirty="0"/>
              <a:t>Very efficient in processing high volume data</a:t>
            </a:r>
          </a:p>
          <a:p>
            <a:r>
              <a:rPr lang="en-US" dirty="0"/>
              <a:t>High Latency</a:t>
            </a:r>
          </a:p>
          <a:p>
            <a:r>
              <a:rPr lang="en-US" dirty="0"/>
              <a:t>Master data (read-only)</a:t>
            </a:r>
          </a:p>
          <a:p>
            <a:pPr marL="0" indent="0">
              <a:buNone/>
            </a:pPr>
            <a:endParaRPr lang="en-US" dirty="0">
              <a:latin typeface="+mn-lt"/>
            </a:endParaRPr>
          </a:p>
        </p:txBody>
      </p:sp>
    </p:spTree>
    <p:extLst>
      <p:ext uri="{BB962C8B-B14F-4D97-AF65-F5344CB8AC3E}">
        <p14:creationId xmlns:p14="http://schemas.microsoft.com/office/powerpoint/2010/main" val="25630656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Overview of Big Data Processing</a:t>
            </a:r>
            <a:endParaRPr lang="en-US" dirty="0"/>
          </a:p>
        </p:txBody>
      </p:sp>
      <p:sp>
        <p:nvSpPr>
          <p:cNvPr id="3" name="Content Placeholder 2"/>
          <p:cNvSpPr>
            <a:spLocks noGrp="1"/>
          </p:cNvSpPr>
          <p:nvPr>
            <p:ph sz="quarter" idx="10"/>
          </p:nvPr>
        </p:nvSpPr>
        <p:spPr>
          <a:xfrm>
            <a:off x="379413" y="1960684"/>
            <a:ext cx="11525250" cy="4717929"/>
          </a:xfrm>
        </p:spPr>
        <p:txBody>
          <a:bodyPr/>
          <a:lstStyle/>
          <a:p>
            <a:r>
              <a:rPr lang="en-US" dirty="0"/>
              <a:t>Big Data Processing Workflow</a:t>
            </a:r>
          </a:p>
          <a:p>
            <a:pPr marL="746125" lvl="1" indent="-457200">
              <a:buFont typeface="+mj-lt"/>
              <a:buAutoNum type="arabicPeriod"/>
            </a:pPr>
            <a:r>
              <a:rPr lang="en-US" dirty="0"/>
              <a:t>Upload source data to HDFS in a Microsoft Azure storage blob container</a:t>
            </a:r>
          </a:p>
          <a:p>
            <a:pPr marL="746125" lvl="1" indent="-457200">
              <a:buFont typeface="+mj-lt"/>
              <a:buAutoNum type="arabicPeriod"/>
            </a:pPr>
            <a:r>
              <a:rPr lang="en-US" dirty="0"/>
              <a:t>Transform the data using Pig, Hive, and Map/Reduce</a:t>
            </a:r>
          </a:p>
          <a:p>
            <a:pPr marL="746125" lvl="1" indent="-457200">
              <a:buFont typeface="+mj-lt"/>
              <a:buAutoNum type="arabicPeriod"/>
            </a:pPr>
            <a:r>
              <a:rPr lang="en-US" dirty="0"/>
              <a:t>Consume the results of the transformation for reporting and analysis</a:t>
            </a:r>
          </a:p>
          <a:p>
            <a:r>
              <a:rPr lang="en-US" dirty="0"/>
              <a:t>Provision Microsoft Azure HDInsight on-demand</a:t>
            </a:r>
          </a:p>
          <a:p>
            <a:pPr lvl="1"/>
            <a:r>
              <a:rPr lang="en-GB" dirty="0"/>
              <a:t>Ensure data processing operations are repeatable</a:t>
            </a:r>
          </a:p>
          <a:p>
            <a:pPr lvl="1"/>
            <a:r>
              <a:rPr lang="en-GB" dirty="0"/>
              <a:t>Minimize hard-coded dependencies</a:t>
            </a:r>
            <a:endParaRPr lang="en-US" dirty="0"/>
          </a:p>
        </p:txBody>
      </p:sp>
    </p:spTree>
    <p:extLst>
      <p:ext uri="{BB962C8B-B14F-4D97-AF65-F5344CB8AC3E}">
        <p14:creationId xmlns:p14="http://schemas.microsoft.com/office/powerpoint/2010/main" val="29393421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zure Batch Processing</a:t>
            </a:r>
            <a:endParaRPr lang="en-US" dirty="0"/>
          </a:p>
        </p:txBody>
      </p:sp>
      <p:sp>
        <p:nvSpPr>
          <p:cNvPr id="3" name="Content Placeholder 2"/>
          <p:cNvSpPr>
            <a:spLocks noGrp="1"/>
          </p:cNvSpPr>
          <p:nvPr>
            <p:ph sz="quarter" idx="10"/>
          </p:nvPr>
        </p:nvSpPr>
        <p:spPr>
          <a:xfrm>
            <a:off x="222250" y="605018"/>
            <a:ext cx="11525250" cy="4823437"/>
          </a:xfrm>
        </p:spPr>
        <p:txBody>
          <a:bodyPr/>
          <a:lstStyle/>
          <a:p>
            <a:r>
              <a:rPr lang="en-US" dirty="0"/>
              <a:t>Jobs, Tasks, pools and Compute Node</a:t>
            </a:r>
          </a:p>
          <a:p>
            <a:endParaRPr lang="en-US" dirty="0"/>
          </a:p>
          <a:p>
            <a:endParaRPr lang="en-US" dirty="0"/>
          </a:p>
          <a:p>
            <a:endParaRPr lang="en-US" dirty="0"/>
          </a:p>
          <a:p>
            <a:endParaRPr lang="en-US" dirty="0"/>
          </a:p>
          <a:p>
            <a:endParaRPr lang="en-US" sz="100" dirty="0"/>
          </a:p>
          <a:p>
            <a:pPr lvl="1"/>
            <a:r>
              <a:rPr lang="en-US" b="1" dirty="0">
                <a:hlinkClick r:id="rId3"/>
              </a:rPr>
              <a:t>Step 1.</a:t>
            </a:r>
            <a:r>
              <a:rPr lang="en-US" dirty="0"/>
              <a:t> Create </a:t>
            </a:r>
            <a:r>
              <a:rPr lang="en-US" b="1" dirty="0"/>
              <a:t>containers</a:t>
            </a:r>
            <a:r>
              <a:rPr lang="en-US" dirty="0"/>
              <a:t> in Azure Blob Storage.</a:t>
            </a:r>
          </a:p>
          <a:p>
            <a:pPr lvl="1"/>
            <a:r>
              <a:rPr lang="en-US" b="1" dirty="0">
                <a:hlinkClick r:id="rId4"/>
              </a:rPr>
              <a:t>Step 2.</a:t>
            </a:r>
            <a:r>
              <a:rPr lang="en-US" dirty="0"/>
              <a:t> Upload task application files and input files to containers.</a:t>
            </a:r>
          </a:p>
          <a:p>
            <a:pPr lvl="1"/>
            <a:r>
              <a:rPr lang="en-US" b="1" dirty="0">
                <a:hlinkClick r:id="rId5"/>
              </a:rPr>
              <a:t>Step 3.</a:t>
            </a:r>
            <a:r>
              <a:rPr lang="en-US" dirty="0"/>
              <a:t> Create a Batch </a:t>
            </a:r>
            <a:r>
              <a:rPr lang="en-US" b="1" dirty="0"/>
              <a:t>pool</a:t>
            </a:r>
            <a:r>
              <a:rPr lang="en-US" dirty="0"/>
              <a:t>.</a:t>
            </a:r>
            <a:br>
              <a:rPr lang="en-US" dirty="0"/>
            </a:br>
            <a:r>
              <a:rPr lang="en-US" dirty="0"/>
              <a:t>    </a:t>
            </a:r>
            <a:r>
              <a:rPr lang="en-US" b="1" dirty="0"/>
              <a:t>3a.</a:t>
            </a:r>
            <a:r>
              <a:rPr lang="en-US" dirty="0"/>
              <a:t> The pool </a:t>
            </a:r>
            <a:r>
              <a:rPr lang="en-US" b="1" dirty="0" err="1"/>
              <a:t>StartTask</a:t>
            </a:r>
            <a:r>
              <a:rPr lang="en-US" dirty="0"/>
              <a:t> downloads the task binary files (</a:t>
            </a:r>
            <a:r>
              <a:rPr lang="en-US" dirty="0" err="1"/>
              <a:t>TaskApplication</a:t>
            </a:r>
            <a:r>
              <a:rPr lang="en-US" dirty="0"/>
              <a:t>) to nodes as they join the pool.</a:t>
            </a:r>
            <a:br>
              <a:rPr lang="en-US" dirty="0"/>
            </a:br>
            <a:endParaRPr lang="en-US" dirty="0"/>
          </a:p>
        </p:txBody>
      </p:sp>
      <p:pic>
        <p:nvPicPr>
          <p:cNvPr id="4" name="Picture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91982" y="1133655"/>
            <a:ext cx="3466783" cy="2879193"/>
          </a:xfrm>
          <a:prstGeom prst="rect">
            <a:avLst/>
          </a:prstGeom>
        </p:spPr>
      </p:pic>
    </p:spTree>
    <p:extLst>
      <p:ext uri="{BB962C8B-B14F-4D97-AF65-F5344CB8AC3E}">
        <p14:creationId xmlns:p14="http://schemas.microsoft.com/office/powerpoint/2010/main" val="23658641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zure Batch Processing contd..</a:t>
            </a:r>
            <a:endParaRPr lang="en-US" dirty="0"/>
          </a:p>
        </p:txBody>
      </p:sp>
      <p:sp>
        <p:nvSpPr>
          <p:cNvPr id="3" name="Content Placeholder 2"/>
          <p:cNvSpPr>
            <a:spLocks noGrp="1"/>
          </p:cNvSpPr>
          <p:nvPr>
            <p:ph sz="quarter" idx="10"/>
          </p:nvPr>
        </p:nvSpPr>
        <p:spPr>
          <a:xfrm>
            <a:off x="378696" y="1245702"/>
            <a:ext cx="11525250" cy="4823437"/>
          </a:xfrm>
        </p:spPr>
        <p:txBody>
          <a:bodyPr/>
          <a:lstStyle/>
          <a:p>
            <a:r>
              <a:rPr lang="en-US" dirty="0"/>
              <a:t>Jobs, Tasks, pools and Compute Node</a:t>
            </a:r>
          </a:p>
          <a:p>
            <a:endParaRPr lang="en-US" sz="100" dirty="0"/>
          </a:p>
          <a:p>
            <a:pPr lvl="1"/>
            <a:r>
              <a:rPr lang="en-US" b="1" dirty="0">
                <a:hlinkClick r:id="rId3"/>
              </a:rPr>
              <a:t>Step 4.</a:t>
            </a:r>
            <a:r>
              <a:rPr lang="en-US" dirty="0"/>
              <a:t> Create a Batch </a:t>
            </a:r>
            <a:r>
              <a:rPr lang="en-US" b="1" dirty="0"/>
              <a:t>job</a:t>
            </a:r>
            <a:r>
              <a:rPr lang="en-US" dirty="0"/>
              <a:t>.</a:t>
            </a:r>
            <a:endParaRPr lang="en-US" b="1" dirty="0">
              <a:hlinkClick r:id="rId4"/>
            </a:endParaRPr>
          </a:p>
          <a:p>
            <a:pPr lvl="1"/>
            <a:r>
              <a:rPr lang="en-US" b="1" dirty="0">
                <a:hlinkClick r:id="rId4"/>
              </a:rPr>
              <a:t>Step 5.</a:t>
            </a:r>
            <a:r>
              <a:rPr lang="en-US" dirty="0"/>
              <a:t> Add </a:t>
            </a:r>
            <a:r>
              <a:rPr lang="en-US" b="1" dirty="0"/>
              <a:t>tasks</a:t>
            </a:r>
            <a:r>
              <a:rPr lang="en-US" dirty="0"/>
              <a:t> to the job.</a:t>
            </a:r>
            <a:br>
              <a:rPr lang="en-US" dirty="0"/>
            </a:br>
            <a:r>
              <a:rPr lang="en-US" dirty="0"/>
              <a:t>    </a:t>
            </a:r>
            <a:r>
              <a:rPr lang="en-US" b="1" dirty="0"/>
              <a:t>5a.</a:t>
            </a:r>
            <a:r>
              <a:rPr lang="en-US" dirty="0"/>
              <a:t> The tasks are scheduled to execute on nodes.</a:t>
            </a:r>
            <a:br>
              <a:rPr lang="en-US" dirty="0"/>
            </a:br>
            <a:r>
              <a:rPr lang="en-US" dirty="0"/>
              <a:t>    </a:t>
            </a:r>
            <a:r>
              <a:rPr lang="en-US" b="1" dirty="0"/>
              <a:t>5b.</a:t>
            </a:r>
            <a:r>
              <a:rPr lang="en-US" dirty="0"/>
              <a:t> Each task downloads its input data from Azure Storage, then begins execution.</a:t>
            </a:r>
          </a:p>
          <a:p>
            <a:pPr lvl="1"/>
            <a:r>
              <a:rPr lang="en-US" b="1" dirty="0">
                <a:hlinkClick r:id="rId5"/>
              </a:rPr>
              <a:t>Step 6.</a:t>
            </a:r>
            <a:r>
              <a:rPr lang="en-US" dirty="0"/>
              <a:t> Monitor tasks.</a:t>
            </a:r>
            <a:br>
              <a:rPr lang="en-US" dirty="0"/>
            </a:br>
            <a:r>
              <a:rPr lang="en-US" dirty="0"/>
              <a:t>    </a:t>
            </a:r>
            <a:r>
              <a:rPr lang="en-US" b="1" dirty="0"/>
              <a:t>6a.</a:t>
            </a:r>
            <a:r>
              <a:rPr lang="en-US" dirty="0"/>
              <a:t> As tasks are completed, they upload their output data to Azure Storage.</a:t>
            </a:r>
          </a:p>
          <a:p>
            <a:pPr lvl="1"/>
            <a:r>
              <a:rPr lang="en-US" b="1" dirty="0">
                <a:hlinkClick r:id="rId6"/>
              </a:rPr>
              <a:t>Step 7.</a:t>
            </a:r>
            <a:r>
              <a:rPr lang="en-US" dirty="0"/>
              <a:t> Download task output from Storage.</a:t>
            </a:r>
          </a:p>
          <a:p>
            <a:pPr marL="457046" lvl="1" indent="0">
              <a:buNone/>
            </a:pPr>
            <a:br>
              <a:rPr lang="en-US" dirty="0"/>
            </a:br>
            <a:endParaRPr lang="en-US" dirty="0"/>
          </a:p>
        </p:txBody>
      </p:sp>
    </p:spTree>
    <p:extLst>
      <p:ext uri="{BB962C8B-B14F-4D97-AF65-F5344CB8AC3E}">
        <p14:creationId xmlns:p14="http://schemas.microsoft.com/office/powerpoint/2010/main" val="32317519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0"/>
          </p:nvPr>
        </p:nvSpPr>
        <p:spPr/>
        <p:txBody>
          <a:bodyPr>
            <a:normAutofit/>
          </a:bodyPr>
          <a:lstStyle/>
          <a:p>
            <a:r>
              <a:rPr lang="en-GB" dirty="0"/>
              <a:t>What is Hive?</a:t>
            </a:r>
          </a:p>
          <a:p>
            <a:r>
              <a:rPr lang="en-GB" dirty="0"/>
              <a:t>Creating Hive Tables</a:t>
            </a:r>
          </a:p>
          <a:p>
            <a:r>
              <a:rPr lang="en-GB" dirty="0"/>
              <a:t>Loading Data into Hive Tables</a:t>
            </a:r>
          </a:p>
          <a:p>
            <a:r>
              <a:rPr lang="en-GB" dirty="0"/>
              <a:t>Querying Hive Tables</a:t>
            </a:r>
          </a:p>
          <a:p>
            <a:r>
              <a:rPr lang="en-GB" dirty="0"/>
              <a:t>Using Hive with PowerShell</a:t>
            </a:r>
          </a:p>
        </p:txBody>
      </p:sp>
      <p:sp>
        <p:nvSpPr>
          <p:cNvPr id="2" name="Title 1"/>
          <p:cNvSpPr>
            <a:spLocks noGrp="1"/>
          </p:cNvSpPr>
          <p:nvPr>
            <p:ph type="title"/>
          </p:nvPr>
        </p:nvSpPr>
        <p:spPr/>
        <p:txBody>
          <a:bodyPr/>
          <a:lstStyle/>
          <a:p>
            <a:r>
              <a:rPr lang="en-US" dirty="0"/>
              <a:t>Hive Overview</a:t>
            </a:r>
          </a:p>
        </p:txBody>
      </p:sp>
    </p:spTree>
    <p:extLst>
      <p:ext uri="{BB962C8B-B14F-4D97-AF65-F5344CB8AC3E}">
        <p14:creationId xmlns:p14="http://schemas.microsoft.com/office/powerpoint/2010/main" val="37327707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65731" y="1097658"/>
            <a:ext cx="1086317" cy="1463387"/>
          </a:xfrm>
          <a:prstGeom prst="rect">
            <a:avLst/>
          </a:prstGeom>
        </p:spPr>
      </p:pic>
      <p:sp>
        <p:nvSpPr>
          <p:cNvPr id="2" name="Title 1"/>
          <p:cNvSpPr>
            <a:spLocks noGrp="1"/>
          </p:cNvSpPr>
          <p:nvPr>
            <p:ph type="title"/>
          </p:nvPr>
        </p:nvSpPr>
        <p:spPr/>
        <p:txBody>
          <a:bodyPr/>
          <a:lstStyle/>
          <a:p>
            <a:r>
              <a:rPr lang="en-GB" dirty="0"/>
              <a:t>What is Hive?</a:t>
            </a:r>
            <a:endParaRPr lang="en-US" dirty="0"/>
          </a:p>
        </p:txBody>
      </p:sp>
      <p:sp>
        <p:nvSpPr>
          <p:cNvPr id="3" name="Content Placeholder 2"/>
          <p:cNvSpPr>
            <a:spLocks noGrp="1"/>
          </p:cNvSpPr>
          <p:nvPr>
            <p:ph sz="quarter" idx="10"/>
          </p:nvPr>
        </p:nvSpPr>
        <p:spPr>
          <a:xfrm>
            <a:off x="379413" y="2963008"/>
            <a:ext cx="11393487" cy="3715606"/>
          </a:xfrm>
        </p:spPr>
        <p:txBody>
          <a:bodyPr/>
          <a:lstStyle/>
          <a:p>
            <a:r>
              <a:rPr lang="en-GB" dirty="0"/>
              <a:t>A metadata service that projects tabular schemas over HDFS folders</a:t>
            </a:r>
          </a:p>
          <a:p>
            <a:r>
              <a:rPr lang="en-GB" dirty="0"/>
              <a:t>Enables the contents of folders to be queried as tables, using SQL-like query semantics</a:t>
            </a:r>
          </a:p>
          <a:p>
            <a:r>
              <a:rPr lang="en-GB" dirty="0"/>
              <a:t>Queries are translated into Map/Reduce jobs</a:t>
            </a:r>
            <a:endParaRPr lang="en-US" dirty="0"/>
          </a:p>
        </p:txBody>
      </p:sp>
      <p:graphicFrame>
        <p:nvGraphicFramePr>
          <p:cNvPr id="6" name="Table 5"/>
          <p:cNvGraphicFramePr>
            <a:graphicFrameLocks noGrp="1"/>
          </p:cNvGraphicFramePr>
          <p:nvPr>
            <p:extLst/>
          </p:nvPr>
        </p:nvGraphicFramePr>
        <p:xfrm>
          <a:off x="4463320" y="1821112"/>
          <a:ext cx="1449753" cy="836264"/>
        </p:xfrm>
        <a:graphic>
          <a:graphicData uri="http://schemas.openxmlformats.org/drawingml/2006/table">
            <a:tbl>
              <a:tblPr firstRow="1" bandRow="1">
                <a:tableStyleId>{5C22544A-7EE6-4342-B048-85BDC9FD1C3A}</a:tableStyleId>
              </a:tblPr>
              <a:tblGrid>
                <a:gridCol w="483251">
                  <a:extLst>
                    <a:ext uri="{9D8B030D-6E8A-4147-A177-3AD203B41FA5}">
                      <a16:colId xmlns:a16="http://schemas.microsoft.com/office/drawing/2014/main" val="20000"/>
                    </a:ext>
                  </a:extLst>
                </a:gridCol>
                <a:gridCol w="483251">
                  <a:extLst>
                    <a:ext uri="{9D8B030D-6E8A-4147-A177-3AD203B41FA5}">
                      <a16:colId xmlns:a16="http://schemas.microsoft.com/office/drawing/2014/main" val="20001"/>
                    </a:ext>
                  </a:extLst>
                </a:gridCol>
                <a:gridCol w="483251">
                  <a:extLst>
                    <a:ext uri="{9D8B030D-6E8A-4147-A177-3AD203B41FA5}">
                      <a16:colId xmlns:a16="http://schemas.microsoft.com/office/drawing/2014/main" val="20002"/>
                    </a:ext>
                  </a:extLst>
                </a:gridCol>
              </a:tblGrid>
              <a:tr h="209066">
                <a:tc>
                  <a:txBody>
                    <a:bodyPr/>
                    <a:lstStyle/>
                    <a:p>
                      <a:endParaRPr lang="en-US" sz="300" dirty="0"/>
                    </a:p>
                  </a:txBody>
                  <a:tcPr/>
                </a:tc>
                <a:tc>
                  <a:txBody>
                    <a:bodyPr/>
                    <a:lstStyle/>
                    <a:p>
                      <a:endParaRPr lang="en-US" sz="300" dirty="0"/>
                    </a:p>
                  </a:txBody>
                  <a:tcPr/>
                </a:tc>
                <a:tc>
                  <a:txBody>
                    <a:bodyPr/>
                    <a:lstStyle/>
                    <a:p>
                      <a:endParaRPr lang="en-US" sz="300" dirty="0"/>
                    </a:p>
                  </a:txBody>
                  <a:tcPr/>
                </a:tc>
                <a:extLst>
                  <a:ext uri="{0D108BD9-81ED-4DB2-BD59-A6C34878D82A}">
                    <a16:rowId xmlns:a16="http://schemas.microsoft.com/office/drawing/2014/main" val="10000"/>
                  </a:ext>
                </a:extLst>
              </a:tr>
              <a:tr h="209066">
                <a:tc>
                  <a:txBody>
                    <a:bodyPr/>
                    <a:lstStyle/>
                    <a:p>
                      <a:endParaRPr lang="en-US" sz="300" dirty="0"/>
                    </a:p>
                  </a:txBody>
                  <a:tcPr/>
                </a:tc>
                <a:tc>
                  <a:txBody>
                    <a:bodyPr/>
                    <a:lstStyle/>
                    <a:p>
                      <a:endParaRPr lang="en-US" sz="300" dirty="0"/>
                    </a:p>
                  </a:txBody>
                  <a:tcPr/>
                </a:tc>
                <a:tc>
                  <a:txBody>
                    <a:bodyPr/>
                    <a:lstStyle/>
                    <a:p>
                      <a:endParaRPr lang="en-US" sz="300"/>
                    </a:p>
                  </a:txBody>
                  <a:tcPr/>
                </a:tc>
                <a:extLst>
                  <a:ext uri="{0D108BD9-81ED-4DB2-BD59-A6C34878D82A}">
                    <a16:rowId xmlns:a16="http://schemas.microsoft.com/office/drawing/2014/main" val="10001"/>
                  </a:ext>
                </a:extLst>
              </a:tr>
              <a:tr h="209066">
                <a:tc>
                  <a:txBody>
                    <a:bodyPr/>
                    <a:lstStyle/>
                    <a:p>
                      <a:endParaRPr lang="en-US" sz="300"/>
                    </a:p>
                  </a:txBody>
                  <a:tcPr/>
                </a:tc>
                <a:tc>
                  <a:txBody>
                    <a:bodyPr/>
                    <a:lstStyle/>
                    <a:p>
                      <a:endParaRPr lang="en-US" sz="300" dirty="0"/>
                    </a:p>
                  </a:txBody>
                  <a:tcPr/>
                </a:tc>
                <a:tc>
                  <a:txBody>
                    <a:bodyPr/>
                    <a:lstStyle/>
                    <a:p>
                      <a:endParaRPr lang="en-US" sz="300"/>
                    </a:p>
                  </a:txBody>
                  <a:tcPr/>
                </a:tc>
                <a:extLst>
                  <a:ext uri="{0D108BD9-81ED-4DB2-BD59-A6C34878D82A}">
                    <a16:rowId xmlns:a16="http://schemas.microsoft.com/office/drawing/2014/main" val="10002"/>
                  </a:ext>
                </a:extLst>
              </a:tr>
              <a:tr h="209066">
                <a:tc>
                  <a:txBody>
                    <a:bodyPr/>
                    <a:lstStyle/>
                    <a:p>
                      <a:endParaRPr lang="en-US" sz="300"/>
                    </a:p>
                  </a:txBody>
                  <a:tcPr/>
                </a:tc>
                <a:tc>
                  <a:txBody>
                    <a:bodyPr/>
                    <a:lstStyle/>
                    <a:p>
                      <a:endParaRPr lang="en-US" sz="300" dirty="0"/>
                    </a:p>
                  </a:txBody>
                  <a:tcPr/>
                </a:tc>
                <a:tc>
                  <a:txBody>
                    <a:bodyPr/>
                    <a:lstStyle/>
                    <a:p>
                      <a:endParaRPr lang="en-US" sz="300" dirty="0"/>
                    </a:p>
                  </a:txBody>
                  <a:tcPr/>
                </a:tc>
                <a:extLst>
                  <a:ext uri="{0D108BD9-81ED-4DB2-BD59-A6C34878D82A}">
                    <a16:rowId xmlns:a16="http://schemas.microsoft.com/office/drawing/2014/main" val="10003"/>
                  </a:ext>
                </a:extLst>
              </a:tr>
            </a:tbl>
          </a:graphicData>
        </a:graphic>
      </p:graphicFrame>
      <p:sp>
        <p:nvSpPr>
          <p:cNvPr id="9" name="TextBox 8"/>
          <p:cNvSpPr txBox="1"/>
          <p:nvPr/>
        </p:nvSpPr>
        <p:spPr>
          <a:xfrm>
            <a:off x="2611314" y="2043668"/>
            <a:ext cx="1149674" cy="369332"/>
          </a:xfrm>
          <a:prstGeom prst="rect">
            <a:avLst/>
          </a:prstGeom>
          <a:noFill/>
        </p:spPr>
        <p:txBody>
          <a:bodyPr wrap="none" rtlCol="0">
            <a:spAutoFit/>
          </a:bodyPr>
          <a:lstStyle/>
          <a:p>
            <a:r>
              <a:rPr lang="en-GB" dirty="0">
                <a:latin typeface="Courier New" panose="02070309020205020404" pitchFamily="49" charset="0"/>
                <a:cs typeface="Courier New" panose="02070309020205020404" pitchFamily="49" charset="0"/>
              </a:rPr>
              <a:t>SELECT…</a:t>
            </a:r>
            <a:endParaRPr lang="en-US" dirty="0">
              <a:latin typeface="Courier New" panose="02070309020205020404" pitchFamily="49" charset="0"/>
              <a:cs typeface="Courier New" panose="02070309020205020404" pitchFamily="49" charset="0"/>
            </a:endParaRPr>
          </a:p>
        </p:txBody>
      </p:sp>
      <p:cxnSp>
        <p:nvCxnSpPr>
          <p:cNvPr id="11" name="Straight Arrow Connector 10"/>
          <p:cNvCxnSpPr>
            <a:stCxn id="9" idx="3"/>
            <a:endCxn id="6" idx="1"/>
          </p:cNvCxnSpPr>
          <p:nvPr/>
        </p:nvCxnSpPr>
        <p:spPr>
          <a:xfrm>
            <a:off x="3760988" y="2228334"/>
            <a:ext cx="702332" cy="10910"/>
          </a:xfrm>
          <a:prstGeom prst="straightConnector1">
            <a:avLst/>
          </a:prstGeom>
          <a:ln>
            <a:headEnd type="triangle" w="med" len="med"/>
            <a:tailEnd type="triangle" w="med" len="med"/>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6548551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reating Hive Tables</a:t>
            </a:r>
            <a:endParaRPr lang="en-US" dirty="0"/>
          </a:p>
        </p:txBody>
      </p:sp>
      <p:sp>
        <p:nvSpPr>
          <p:cNvPr id="3" name="Content Placeholder 2"/>
          <p:cNvSpPr>
            <a:spLocks noGrp="1"/>
          </p:cNvSpPr>
          <p:nvPr>
            <p:ph sz="quarter" idx="10"/>
          </p:nvPr>
        </p:nvSpPr>
        <p:spPr/>
        <p:txBody>
          <a:bodyPr/>
          <a:lstStyle/>
          <a:p>
            <a:r>
              <a:rPr lang="en-US" dirty="0"/>
              <a:t>Use the CREATE TABLE </a:t>
            </a:r>
            <a:r>
              <a:rPr lang="en-US" dirty="0" err="1"/>
              <a:t>HiveQL</a:t>
            </a:r>
            <a:r>
              <a:rPr lang="en-US" dirty="0"/>
              <a:t> statement</a:t>
            </a:r>
          </a:p>
          <a:p>
            <a:pPr lvl="1"/>
            <a:r>
              <a:rPr lang="en-US" dirty="0"/>
              <a:t>Defines schema metadata to be projected onto data</a:t>
            </a:r>
          </a:p>
          <a:p>
            <a:pPr marL="457046" lvl="1" indent="0">
              <a:buNone/>
            </a:pPr>
            <a:r>
              <a:rPr lang="en-US" dirty="0"/>
              <a:t>   in a folder when the table is queried (</a:t>
            </a:r>
            <a:r>
              <a:rPr lang="en-US" i="1" dirty="0"/>
              <a:t>not</a:t>
            </a:r>
            <a:r>
              <a:rPr lang="en-US" dirty="0"/>
              <a:t> when it is created)</a:t>
            </a:r>
          </a:p>
          <a:p>
            <a:r>
              <a:rPr lang="en-US" dirty="0"/>
              <a:t>Specify file format and file location</a:t>
            </a:r>
          </a:p>
          <a:p>
            <a:pPr lvl="1"/>
            <a:r>
              <a:rPr lang="en-US" dirty="0"/>
              <a:t>Defaults to </a:t>
            </a:r>
            <a:r>
              <a:rPr lang="en-US" dirty="0" err="1"/>
              <a:t>sequencefile</a:t>
            </a:r>
            <a:r>
              <a:rPr lang="en-US" dirty="0"/>
              <a:t> format in the /hive/warehouse/&lt;</a:t>
            </a:r>
            <a:r>
              <a:rPr lang="en-US" i="1" dirty="0" err="1"/>
              <a:t>table_name</a:t>
            </a:r>
            <a:r>
              <a:rPr lang="en-US" dirty="0"/>
              <a:t>&gt; folder</a:t>
            </a:r>
          </a:p>
          <a:p>
            <a:r>
              <a:rPr lang="en-US" dirty="0"/>
              <a:t>Create </a:t>
            </a:r>
            <a:r>
              <a:rPr lang="en-US" i="1" dirty="0"/>
              <a:t>internal</a:t>
            </a:r>
            <a:r>
              <a:rPr lang="en-US" dirty="0"/>
              <a:t> or </a:t>
            </a:r>
            <a:r>
              <a:rPr lang="en-US" i="1" dirty="0"/>
              <a:t>external</a:t>
            </a:r>
            <a:r>
              <a:rPr lang="en-US" dirty="0"/>
              <a:t> tables</a:t>
            </a:r>
          </a:p>
          <a:p>
            <a:pPr lvl="1"/>
            <a:r>
              <a:rPr lang="en-US" dirty="0"/>
              <a:t>Internal tables manage the lifetime of the underlying folders</a:t>
            </a:r>
          </a:p>
          <a:p>
            <a:pPr lvl="1"/>
            <a:r>
              <a:rPr lang="en-US" dirty="0"/>
              <a:t>External tables are managed independently from folders</a:t>
            </a:r>
          </a:p>
          <a:p>
            <a:pPr marL="0" indent="0">
              <a:buNone/>
            </a:pPr>
            <a:endParaRPr lang="en-US" dirty="0"/>
          </a:p>
        </p:txBody>
      </p:sp>
    </p:spTree>
    <p:extLst>
      <p:ext uri="{BB962C8B-B14F-4D97-AF65-F5344CB8AC3E}">
        <p14:creationId xmlns:p14="http://schemas.microsoft.com/office/powerpoint/2010/main" val="44416825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REATE TABLE</a:t>
            </a:r>
            <a:endParaRPr lang="en-US" dirty="0"/>
          </a:p>
        </p:txBody>
      </p:sp>
      <p:sp>
        <p:nvSpPr>
          <p:cNvPr id="5" name="Rectangle 4"/>
          <p:cNvSpPr/>
          <p:nvPr/>
        </p:nvSpPr>
        <p:spPr>
          <a:xfrm>
            <a:off x="298938" y="1427917"/>
            <a:ext cx="6550269" cy="1077218"/>
          </a:xfrm>
          <a:prstGeom prst="rect">
            <a:avLst/>
          </a:prstGeom>
        </p:spPr>
        <p:txBody>
          <a:bodyPr wrap="square">
            <a:spAutoFit/>
          </a:bodyPr>
          <a:lstStyle/>
          <a:p>
            <a:r>
              <a:rPr lang="en-US" sz="1600" dirty="0">
                <a:latin typeface="Courier New" panose="02070309020205020404" pitchFamily="49" charset="0"/>
                <a:cs typeface="Courier New" panose="02070309020205020404" pitchFamily="49" charset="0"/>
              </a:rPr>
              <a:t>CREATE TABLE table1</a:t>
            </a:r>
            <a:endParaRPr lang="en-GB" sz="1600" dirty="0">
              <a:latin typeface="Courier New" panose="02070309020205020404" pitchFamily="49" charset="0"/>
              <a:cs typeface="Courier New" panose="02070309020205020404" pitchFamily="49" charset="0"/>
            </a:endParaRPr>
          </a:p>
          <a:p>
            <a:r>
              <a:rPr lang="en-US" sz="1600" dirty="0">
                <a:latin typeface="Courier New" panose="02070309020205020404" pitchFamily="49" charset="0"/>
                <a:cs typeface="Courier New" panose="02070309020205020404" pitchFamily="49" charset="0"/>
              </a:rPr>
              <a:t>(col1 STRING,</a:t>
            </a:r>
            <a:endParaRPr lang="en-GB" sz="1600" dirty="0">
              <a:latin typeface="Courier New" panose="02070309020205020404" pitchFamily="49" charset="0"/>
              <a:cs typeface="Courier New" panose="02070309020205020404" pitchFamily="49" charset="0"/>
            </a:endParaRPr>
          </a:p>
          <a:p>
            <a:r>
              <a:rPr lang="en-US" sz="1600" dirty="0">
                <a:latin typeface="Courier New" panose="02070309020205020404" pitchFamily="49" charset="0"/>
                <a:cs typeface="Courier New" panose="02070309020205020404" pitchFamily="49" charset="0"/>
              </a:rPr>
              <a:t> col2 INT)</a:t>
            </a:r>
            <a:endParaRPr lang="en-GB" sz="1600" dirty="0">
              <a:latin typeface="Courier New" panose="02070309020205020404" pitchFamily="49" charset="0"/>
              <a:cs typeface="Courier New" panose="02070309020205020404" pitchFamily="49" charset="0"/>
            </a:endParaRPr>
          </a:p>
          <a:p>
            <a:r>
              <a:rPr lang="en-US" sz="1600" dirty="0">
                <a:latin typeface="Courier New" panose="02070309020205020404" pitchFamily="49" charset="0"/>
                <a:cs typeface="Courier New" panose="02070309020205020404" pitchFamily="49" charset="0"/>
              </a:rPr>
              <a:t>ROW FORMAT DELIMITED FIELDS TERMINATED BY ' ';</a:t>
            </a:r>
            <a:endParaRPr lang="en-GB" sz="1600" dirty="0">
              <a:latin typeface="Courier New" panose="02070309020205020404" pitchFamily="49" charset="0"/>
              <a:cs typeface="Courier New" panose="02070309020205020404" pitchFamily="49" charset="0"/>
            </a:endParaRPr>
          </a:p>
        </p:txBody>
      </p:sp>
      <p:sp>
        <p:nvSpPr>
          <p:cNvPr id="6" name="Rectangle 5"/>
          <p:cNvSpPr/>
          <p:nvPr/>
        </p:nvSpPr>
        <p:spPr>
          <a:xfrm>
            <a:off x="298937" y="3245328"/>
            <a:ext cx="6550269" cy="1323439"/>
          </a:xfrm>
          <a:prstGeom prst="rect">
            <a:avLst/>
          </a:prstGeom>
        </p:spPr>
        <p:txBody>
          <a:bodyPr wrap="square">
            <a:spAutoFit/>
          </a:bodyPr>
          <a:lstStyle/>
          <a:p>
            <a:r>
              <a:rPr lang="en-US" sz="1600" dirty="0">
                <a:latin typeface="Courier New" panose="02070309020205020404" pitchFamily="49" charset="0"/>
                <a:cs typeface="Courier New" panose="02070309020205020404" pitchFamily="49" charset="0"/>
              </a:rPr>
              <a:t>CREATE TABLE table2</a:t>
            </a:r>
            <a:endParaRPr lang="en-GB" sz="1600" dirty="0">
              <a:latin typeface="Courier New" panose="02070309020205020404" pitchFamily="49" charset="0"/>
              <a:cs typeface="Courier New" panose="02070309020205020404" pitchFamily="49" charset="0"/>
            </a:endParaRPr>
          </a:p>
          <a:p>
            <a:r>
              <a:rPr lang="en-US" sz="1600" dirty="0">
                <a:latin typeface="Courier New" panose="02070309020205020404" pitchFamily="49" charset="0"/>
                <a:cs typeface="Courier New" panose="02070309020205020404" pitchFamily="49" charset="0"/>
              </a:rPr>
              <a:t>(col1 STRING,</a:t>
            </a:r>
            <a:endParaRPr lang="en-GB" sz="1600" dirty="0">
              <a:latin typeface="Courier New" panose="02070309020205020404" pitchFamily="49" charset="0"/>
              <a:cs typeface="Courier New" panose="02070309020205020404" pitchFamily="49" charset="0"/>
            </a:endParaRPr>
          </a:p>
          <a:p>
            <a:r>
              <a:rPr lang="en-US" sz="1600" dirty="0">
                <a:latin typeface="Courier New" panose="02070309020205020404" pitchFamily="49" charset="0"/>
                <a:cs typeface="Courier New" panose="02070309020205020404" pitchFamily="49" charset="0"/>
              </a:rPr>
              <a:t> col2 INT)</a:t>
            </a:r>
            <a:endParaRPr lang="en-GB" sz="1600" dirty="0">
              <a:latin typeface="Courier New" panose="02070309020205020404" pitchFamily="49" charset="0"/>
              <a:cs typeface="Courier New" panose="02070309020205020404" pitchFamily="49" charset="0"/>
            </a:endParaRPr>
          </a:p>
          <a:p>
            <a:r>
              <a:rPr lang="en-US" sz="1600" dirty="0">
                <a:latin typeface="Courier New" panose="02070309020205020404" pitchFamily="49" charset="0"/>
                <a:cs typeface="Courier New" panose="02070309020205020404" pitchFamily="49" charset="0"/>
              </a:rPr>
              <a:t>ROW FORMAT DELIMITED FIELDS TERMINATED BY ' '</a:t>
            </a:r>
          </a:p>
          <a:p>
            <a:r>
              <a:rPr lang="en-GB" sz="1600" dirty="0">
                <a:latin typeface="Courier New" panose="02070309020205020404" pitchFamily="49" charset="0"/>
                <a:cs typeface="Courier New" panose="02070309020205020404" pitchFamily="49" charset="0"/>
              </a:rPr>
              <a:t>STORED AS TEXTFILE LOCATION '/data/table2'</a:t>
            </a:r>
            <a:r>
              <a:rPr lang="en-US" sz="1600" dirty="0">
                <a:latin typeface="Courier New" panose="02070309020205020404" pitchFamily="49" charset="0"/>
                <a:cs typeface="Courier New" panose="02070309020205020404" pitchFamily="49" charset="0"/>
              </a:rPr>
              <a:t>;</a:t>
            </a:r>
            <a:endParaRPr lang="en-GB" sz="1600" dirty="0">
              <a:latin typeface="Courier New" panose="02070309020205020404" pitchFamily="49" charset="0"/>
              <a:cs typeface="Courier New" panose="02070309020205020404" pitchFamily="49" charset="0"/>
            </a:endParaRPr>
          </a:p>
        </p:txBody>
      </p:sp>
      <p:sp>
        <p:nvSpPr>
          <p:cNvPr id="7" name="Rectangle 6"/>
          <p:cNvSpPr/>
          <p:nvPr/>
        </p:nvSpPr>
        <p:spPr>
          <a:xfrm>
            <a:off x="298937" y="5292281"/>
            <a:ext cx="6805248" cy="1323439"/>
          </a:xfrm>
          <a:prstGeom prst="rect">
            <a:avLst/>
          </a:prstGeom>
        </p:spPr>
        <p:txBody>
          <a:bodyPr wrap="square">
            <a:spAutoFit/>
          </a:bodyPr>
          <a:lstStyle/>
          <a:p>
            <a:r>
              <a:rPr lang="en-US" sz="1600" dirty="0">
                <a:latin typeface="Courier New" panose="02070309020205020404" pitchFamily="49" charset="0"/>
                <a:cs typeface="Courier New" panose="02070309020205020404" pitchFamily="49" charset="0"/>
              </a:rPr>
              <a:t>CREATE EXTERNAL TABLE table3</a:t>
            </a:r>
            <a:endParaRPr lang="en-GB" sz="1600" dirty="0">
              <a:latin typeface="Courier New" panose="02070309020205020404" pitchFamily="49" charset="0"/>
              <a:cs typeface="Courier New" panose="02070309020205020404" pitchFamily="49" charset="0"/>
            </a:endParaRPr>
          </a:p>
          <a:p>
            <a:r>
              <a:rPr lang="en-US" sz="1600" dirty="0">
                <a:latin typeface="Courier New" panose="02070309020205020404" pitchFamily="49" charset="0"/>
                <a:cs typeface="Courier New" panose="02070309020205020404" pitchFamily="49" charset="0"/>
              </a:rPr>
              <a:t>(col1 STRING,</a:t>
            </a:r>
            <a:endParaRPr lang="en-GB" sz="1600" dirty="0">
              <a:latin typeface="Courier New" panose="02070309020205020404" pitchFamily="49" charset="0"/>
              <a:cs typeface="Courier New" panose="02070309020205020404" pitchFamily="49" charset="0"/>
            </a:endParaRPr>
          </a:p>
          <a:p>
            <a:r>
              <a:rPr lang="en-US" sz="1600" dirty="0">
                <a:latin typeface="Courier New" panose="02070309020205020404" pitchFamily="49" charset="0"/>
                <a:cs typeface="Courier New" panose="02070309020205020404" pitchFamily="49" charset="0"/>
              </a:rPr>
              <a:t> col2 INT)</a:t>
            </a:r>
            <a:endParaRPr lang="en-GB" sz="1600" dirty="0">
              <a:latin typeface="Courier New" panose="02070309020205020404" pitchFamily="49" charset="0"/>
              <a:cs typeface="Courier New" panose="02070309020205020404" pitchFamily="49" charset="0"/>
            </a:endParaRPr>
          </a:p>
          <a:p>
            <a:r>
              <a:rPr lang="en-US" sz="1600" dirty="0">
                <a:latin typeface="Courier New" panose="02070309020205020404" pitchFamily="49" charset="0"/>
                <a:cs typeface="Courier New" panose="02070309020205020404" pitchFamily="49" charset="0"/>
              </a:rPr>
              <a:t>ROW FORMAT DELIMITED FIELDS TERMINATED BY ' '</a:t>
            </a:r>
          </a:p>
          <a:p>
            <a:r>
              <a:rPr lang="en-GB" sz="1600" dirty="0">
                <a:latin typeface="Courier New" panose="02070309020205020404" pitchFamily="49" charset="0"/>
                <a:cs typeface="Courier New" panose="02070309020205020404" pitchFamily="49" charset="0"/>
              </a:rPr>
              <a:t>STORED AS TEXTFILE LOCATION '</a:t>
            </a:r>
            <a:r>
              <a:rPr lang="en-US" sz="1600" dirty="0">
                <a:latin typeface="Courier New" panose="02070309020205020404" pitchFamily="49" charset="0"/>
                <a:cs typeface="Courier New" panose="02070309020205020404" pitchFamily="49" charset="0"/>
              </a:rPr>
              <a:t>'</a:t>
            </a:r>
            <a:r>
              <a:rPr lang="en-US" sz="1600" dirty="0" err="1">
                <a:latin typeface="Courier New" panose="02070309020205020404" pitchFamily="49" charset="0"/>
                <a:cs typeface="Courier New" panose="02070309020205020404" pitchFamily="49" charset="0"/>
              </a:rPr>
              <a:t>wasbs</a:t>
            </a:r>
            <a:r>
              <a:rPr lang="en-US" sz="1600" dirty="0">
                <a:latin typeface="Courier New" panose="02070309020205020404" pitchFamily="49" charset="0"/>
                <a:cs typeface="Courier New" panose="02070309020205020404" pitchFamily="49" charset="0"/>
              </a:rPr>
              <a:t>:///example/data/</a:t>
            </a:r>
            <a:r>
              <a:rPr lang="en-GB" sz="1600" dirty="0">
                <a:latin typeface="Courier New" panose="02070309020205020404" pitchFamily="49" charset="0"/>
                <a:cs typeface="Courier New" panose="02070309020205020404" pitchFamily="49" charset="0"/>
              </a:rPr>
              <a:t>'</a:t>
            </a:r>
            <a:r>
              <a:rPr lang="en-US" sz="1600" dirty="0">
                <a:latin typeface="Courier New" panose="02070309020205020404" pitchFamily="49" charset="0"/>
                <a:cs typeface="Courier New" panose="02070309020205020404" pitchFamily="49" charset="0"/>
              </a:rPr>
              <a:t>;</a:t>
            </a:r>
            <a:endParaRPr lang="en-GB" sz="1600" dirty="0">
              <a:latin typeface="Courier New" panose="02070309020205020404" pitchFamily="49" charset="0"/>
              <a:cs typeface="Courier New" panose="02070309020205020404" pitchFamily="49" charset="0"/>
            </a:endParaRPr>
          </a:p>
        </p:txBody>
      </p:sp>
      <p:sp>
        <p:nvSpPr>
          <p:cNvPr id="8" name="Rounded Rectangular Callout 7"/>
          <p:cNvSpPr/>
          <p:nvPr/>
        </p:nvSpPr>
        <p:spPr>
          <a:xfrm>
            <a:off x="4765431" y="639396"/>
            <a:ext cx="2338754" cy="908050"/>
          </a:xfrm>
          <a:prstGeom prst="wedgeRoundRectCallout">
            <a:avLst>
              <a:gd name="adj1" fmla="val -133662"/>
              <a:gd name="adj2" fmla="val 53046"/>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GB" dirty="0"/>
              <a:t>Internal table (folders deleted when table is dropped)</a:t>
            </a:r>
          </a:p>
        </p:txBody>
      </p:sp>
      <p:sp>
        <p:nvSpPr>
          <p:cNvPr id="9" name="Rounded Rectangular Callout 8"/>
          <p:cNvSpPr/>
          <p:nvPr/>
        </p:nvSpPr>
        <p:spPr>
          <a:xfrm>
            <a:off x="6150523" y="2536633"/>
            <a:ext cx="2813538" cy="908050"/>
          </a:xfrm>
          <a:prstGeom prst="wedgeRoundRectCallout">
            <a:avLst>
              <a:gd name="adj1" fmla="val -228350"/>
              <a:gd name="adj2" fmla="val -50558"/>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GB" dirty="0"/>
              <a:t>Default location (/hive/warehouse/table1)</a:t>
            </a:r>
            <a:endParaRPr lang="en-US" dirty="0"/>
          </a:p>
        </p:txBody>
      </p:sp>
      <p:sp>
        <p:nvSpPr>
          <p:cNvPr id="10" name="Rounded Rectangular Callout 9"/>
          <p:cNvSpPr/>
          <p:nvPr/>
        </p:nvSpPr>
        <p:spPr>
          <a:xfrm>
            <a:off x="8078826" y="3947170"/>
            <a:ext cx="3729242" cy="973399"/>
          </a:xfrm>
          <a:prstGeom prst="wedgeRoundRectCallout">
            <a:avLst>
              <a:gd name="adj1" fmla="val -113008"/>
              <a:gd name="adj2" fmla="val -3010"/>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GB" dirty="0"/>
              <a:t>Stored in a custom location (but still internal, so the folder is deleted when table is dropped)</a:t>
            </a:r>
            <a:endParaRPr lang="en-US" dirty="0"/>
          </a:p>
        </p:txBody>
      </p:sp>
      <p:sp>
        <p:nvSpPr>
          <p:cNvPr id="11" name="Rounded Rectangular Callout 10"/>
          <p:cNvSpPr/>
          <p:nvPr/>
        </p:nvSpPr>
        <p:spPr>
          <a:xfrm>
            <a:off x="7360787" y="5540231"/>
            <a:ext cx="3729242" cy="973399"/>
          </a:xfrm>
          <a:prstGeom prst="wedgeRoundRectCallout">
            <a:avLst>
              <a:gd name="adj1" fmla="val -141300"/>
              <a:gd name="adj2" fmla="val -55399"/>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r>
              <a:rPr lang="en-GB" dirty="0"/>
              <a:t>External table (folders and files are left intact in Azure Blob Store when the table is dropped)</a:t>
            </a:r>
            <a:endParaRPr lang="en-US" dirty="0"/>
          </a:p>
        </p:txBody>
      </p:sp>
    </p:spTree>
    <p:extLst>
      <p:ext uri="{BB962C8B-B14F-4D97-AF65-F5344CB8AC3E}">
        <p14:creationId xmlns:p14="http://schemas.microsoft.com/office/powerpoint/2010/main" val="50859911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Loading Data into Hive Tables</a:t>
            </a:r>
            <a:endParaRPr lang="en-US" dirty="0"/>
          </a:p>
        </p:txBody>
      </p:sp>
      <p:sp>
        <p:nvSpPr>
          <p:cNvPr id="3" name="Content Placeholder 2"/>
          <p:cNvSpPr>
            <a:spLocks noGrp="1"/>
          </p:cNvSpPr>
          <p:nvPr>
            <p:ph sz="quarter" idx="10"/>
          </p:nvPr>
        </p:nvSpPr>
        <p:spPr/>
        <p:txBody>
          <a:bodyPr/>
          <a:lstStyle/>
          <a:p>
            <a:r>
              <a:rPr lang="en-US" dirty="0"/>
              <a:t>Save data files in table folders</a:t>
            </a:r>
          </a:p>
          <a:p>
            <a:r>
              <a:rPr lang="en-US" dirty="0"/>
              <a:t>Use the LOAD statement</a:t>
            </a:r>
          </a:p>
          <a:p>
            <a:pPr lvl="1"/>
            <a:r>
              <a:rPr lang="en-US" dirty="0"/>
              <a:t>Moves or copies files to the appropriate folder</a:t>
            </a:r>
          </a:p>
          <a:p>
            <a:pPr lvl="1"/>
            <a:endParaRPr lang="en-US" dirty="0"/>
          </a:p>
          <a:p>
            <a:r>
              <a:rPr lang="en-US" dirty="0"/>
              <a:t>Use the INSERT statement</a:t>
            </a:r>
          </a:p>
          <a:p>
            <a:pPr lvl="1"/>
            <a:r>
              <a:rPr lang="en-US" dirty="0"/>
              <a:t>Inserts data from one table to another</a:t>
            </a:r>
          </a:p>
          <a:p>
            <a:endParaRPr lang="en-US" dirty="0"/>
          </a:p>
        </p:txBody>
      </p:sp>
      <p:sp>
        <p:nvSpPr>
          <p:cNvPr id="5" name="Rectangle 4"/>
          <p:cNvSpPr/>
          <p:nvPr/>
        </p:nvSpPr>
        <p:spPr>
          <a:xfrm>
            <a:off x="2098430" y="3193758"/>
            <a:ext cx="9322777" cy="369332"/>
          </a:xfrm>
          <a:prstGeom prst="rect">
            <a:avLst/>
          </a:prstGeom>
        </p:spPr>
        <p:txBody>
          <a:bodyPr wrap="square">
            <a:spAutoFit/>
          </a:bodyPr>
          <a:lstStyle/>
          <a:p>
            <a:r>
              <a:rPr lang="en-US" dirty="0">
                <a:latin typeface="Courier New" panose="02070309020205020404" pitchFamily="49" charset="0"/>
                <a:cs typeface="Courier New" panose="02070309020205020404" pitchFamily="49" charset="0"/>
              </a:rPr>
              <a:t>LOAD DATA LOCAL INPATH '/data/source' INTO TABLE </a:t>
            </a:r>
            <a:r>
              <a:rPr lang="en-US" dirty="0" err="1">
                <a:latin typeface="Courier New" panose="02070309020205020404" pitchFamily="49" charset="0"/>
                <a:cs typeface="Courier New" panose="02070309020205020404" pitchFamily="49" charset="0"/>
              </a:rPr>
              <a:t>MyTable</a:t>
            </a:r>
            <a:r>
              <a:rPr lang="en-US" dirty="0">
                <a:latin typeface="Courier New" panose="02070309020205020404" pitchFamily="49" charset="0"/>
                <a:cs typeface="Courier New" panose="02070309020205020404" pitchFamily="49" charset="0"/>
              </a:rPr>
              <a:t>; </a:t>
            </a:r>
          </a:p>
        </p:txBody>
      </p:sp>
      <p:sp>
        <p:nvSpPr>
          <p:cNvPr id="6" name="Rectangle 5"/>
          <p:cNvSpPr/>
          <p:nvPr/>
        </p:nvSpPr>
        <p:spPr>
          <a:xfrm>
            <a:off x="621506" y="4813719"/>
            <a:ext cx="10472738" cy="369332"/>
          </a:xfrm>
          <a:prstGeom prst="rect">
            <a:avLst/>
          </a:prstGeom>
        </p:spPr>
        <p:txBody>
          <a:bodyPr wrap="square">
            <a:spAutoFit/>
          </a:bodyPr>
          <a:lstStyle/>
          <a:p>
            <a:r>
              <a:rPr lang="en-US" dirty="0"/>
              <a:t>INSERT OVERWRITE TABLE </a:t>
            </a:r>
            <a:r>
              <a:rPr lang="en-US" dirty="0" err="1"/>
              <a:t>errorLogs</a:t>
            </a:r>
            <a:r>
              <a:rPr lang="en-US" dirty="0"/>
              <a:t> SELECT t1, t2, t3, t4, t5, t6, t7 FROM log4jLogs WHERE t4 = '[ERROR]';</a:t>
            </a:r>
            <a:endParaRPr lang="en-GB"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8938092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Querying Hive Tables with </a:t>
            </a:r>
            <a:r>
              <a:rPr lang="en-GB" dirty="0" err="1"/>
              <a:t>HiveQL</a:t>
            </a:r>
            <a:endParaRPr lang="en-US" dirty="0"/>
          </a:p>
        </p:txBody>
      </p:sp>
      <p:sp>
        <p:nvSpPr>
          <p:cNvPr id="3" name="Content Placeholder 2"/>
          <p:cNvSpPr>
            <a:spLocks noGrp="1"/>
          </p:cNvSpPr>
          <p:nvPr>
            <p:ph sz="quarter" idx="10"/>
          </p:nvPr>
        </p:nvSpPr>
        <p:spPr>
          <a:xfrm>
            <a:off x="379413" y="2057400"/>
            <a:ext cx="11525250" cy="4621214"/>
          </a:xfrm>
        </p:spPr>
        <p:txBody>
          <a:bodyPr/>
          <a:lstStyle/>
          <a:p>
            <a:r>
              <a:rPr lang="en-US" dirty="0"/>
              <a:t>Query data using the SELECT statement</a:t>
            </a:r>
          </a:p>
          <a:p>
            <a:r>
              <a:rPr lang="en-US" dirty="0"/>
              <a:t>Hive translates the query into Map/Reduce jobs and applies the table schema to the underlying data files</a:t>
            </a:r>
          </a:p>
          <a:p>
            <a:endParaRPr lang="en-US" dirty="0"/>
          </a:p>
        </p:txBody>
      </p:sp>
      <p:sp>
        <p:nvSpPr>
          <p:cNvPr id="5" name="Rectangle 4"/>
          <p:cNvSpPr/>
          <p:nvPr/>
        </p:nvSpPr>
        <p:spPr>
          <a:xfrm>
            <a:off x="2237152" y="4189046"/>
            <a:ext cx="8557846" cy="1477328"/>
          </a:xfrm>
          <a:prstGeom prst="rect">
            <a:avLst/>
          </a:prstGeom>
        </p:spPr>
        <p:txBody>
          <a:bodyPr wrap="square">
            <a:spAutoFit/>
          </a:bodyPr>
          <a:lstStyle/>
          <a:p>
            <a:r>
              <a:rPr lang="en-US" dirty="0">
                <a:latin typeface="Courier New" panose="02070309020205020404" pitchFamily="49" charset="0"/>
                <a:cs typeface="Courier New" panose="02070309020205020404" pitchFamily="49" charset="0"/>
              </a:rPr>
              <a:t>SELECT Col1, SUM(Col2) AS TotalCol2</a:t>
            </a:r>
          </a:p>
          <a:p>
            <a:r>
              <a:rPr lang="en-US" dirty="0">
                <a:latin typeface="Courier New" panose="02070309020205020404" pitchFamily="49" charset="0"/>
                <a:cs typeface="Courier New" panose="02070309020205020404" pitchFamily="49" charset="0"/>
              </a:rPr>
              <a:t>FROM </a:t>
            </a:r>
            <a:r>
              <a:rPr lang="en-US" dirty="0" err="1">
                <a:latin typeface="Courier New" panose="02070309020205020404" pitchFamily="49" charset="0"/>
                <a:cs typeface="Courier New" panose="02070309020205020404" pitchFamily="49" charset="0"/>
              </a:rPr>
              <a:t>MyTable</a:t>
            </a:r>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WHERE Col1 &gt;= '2013-06-01' AND Col1 &lt;= '2013-06-30'</a:t>
            </a:r>
          </a:p>
          <a:p>
            <a:r>
              <a:rPr lang="en-GB" dirty="0">
                <a:latin typeface="Courier New" panose="02070309020205020404" pitchFamily="49" charset="0"/>
                <a:cs typeface="Courier New" panose="02070309020205020404" pitchFamily="49" charset="0"/>
              </a:rPr>
              <a:t>GROUP BY Col1</a:t>
            </a:r>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ORDER BY Col1;</a:t>
            </a:r>
          </a:p>
        </p:txBody>
      </p:sp>
    </p:spTree>
    <p:extLst>
      <p:ext uri="{BB962C8B-B14F-4D97-AF65-F5344CB8AC3E}">
        <p14:creationId xmlns:p14="http://schemas.microsoft.com/office/powerpoint/2010/main" val="6446741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Hive Summary</a:t>
            </a:r>
          </a:p>
        </p:txBody>
      </p:sp>
      <p:sp>
        <p:nvSpPr>
          <p:cNvPr id="3" name="Content Placeholder 2"/>
          <p:cNvSpPr>
            <a:spLocks noGrp="1"/>
          </p:cNvSpPr>
          <p:nvPr>
            <p:ph sz="quarter" idx="10"/>
          </p:nvPr>
        </p:nvSpPr>
        <p:spPr>
          <a:xfrm>
            <a:off x="379413" y="1388226"/>
            <a:ext cx="9027052" cy="5290388"/>
          </a:xfrm>
        </p:spPr>
        <p:txBody>
          <a:bodyPr/>
          <a:lstStyle/>
          <a:p>
            <a:r>
              <a:rPr lang="en-GB" dirty="0"/>
              <a:t>Hive enables Map/Reduce processing through SQL-like syntax</a:t>
            </a:r>
          </a:p>
          <a:p>
            <a:r>
              <a:rPr lang="en-GB" dirty="0"/>
              <a:t>Internal tables manage the lifetime of their data, External tables are metadata only</a:t>
            </a:r>
          </a:p>
          <a:p>
            <a:r>
              <a:rPr lang="en-GB" dirty="0"/>
              <a:t>Use </a:t>
            </a:r>
            <a:r>
              <a:rPr lang="en-GB" dirty="0" err="1"/>
              <a:t>HiveQL</a:t>
            </a:r>
            <a:r>
              <a:rPr lang="en-GB" dirty="0"/>
              <a:t> queries in PowerShell scripts to perform Hive operations and retrieve data</a:t>
            </a:r>
          </a:p>
        </p:txBody>
      </p:sp>
    </p:spTree>
    <p:extLst>
      <p:ext uri="{BB962C8B-B14F-4D97-AF65-F5344CB8AC3E}">
        <p14:creationId xmlns:p14="http://schemas.microsoft.com/office/powerpoint/2010/main" val="16205512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705" dirty="0"/>
              <a:t>Hadoop is a platform with portfolio of projects</a:t>
            </a:r>
          </a:p>
        </p:txBody>
      </p:sp>
      <p:sp>
        <p:nvSpPr>
          <p:cNvPr id="3" name="Text Placeholder 2"/>
          <p:cNvSpPr>
            <a:spLocks noGrp="1"/>
          </p:cNvSpPr>
          <p:nvPr>
            <p:ph type="body" sz="quarter" idx="11"/>
          </p:nvPr>
        </p:nvSpPr>
        <p:spPr/>
        <p:txBody>
          <a:bodyPr/>
          <a:lstStyle/>
          <a:p>
            <a:pPr marL="457200" indent="-457200">
              <a:spcAft>
                <a:spcPts val="588"/>
              </a:spcAft>
              <a:buFont typeface="Arial" panose="020B0604020202020204" pitchFamily="34" charset="0"/>
              <a:buChar char="•"/>
            </a:pPr>
            <a:r>
              <a:rPr lang="en-US" sz="3200" kern="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rPr>
              <a:t>Governed by Apache Software Foundation (ASF)</a:t>
            </a:r>
          </a:p>
          <a:p>
            <a:pPr marL="457200" indent="-457200">
              <a:spcAft>
                <a:spcPts val="588"/>
              </a:spcAft>
              <a:buFont typeface="Arial" panose="020B0604020202020204" pitchFamily="34" charset="0"/>
              <a:buChar char="•"/>
            </a:pPr>
            <a:r>
              <a:rPr lang="en-US" sz="3200" kern="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rPr>
              <a:t>Comprises core services of MapReduce, HDFS, and YARN</a:t>
            </a:r>
          </a:p>
        </p:txBody>
      </p:sp>
      <p:sp>
        <p:nvSpPr>
          <p:cNvPr id="103" name="Rectangle 102"/>
          <p:cNvSpPr/>
          <p:nvPr/>
        </p:nvSpPr>
        <p:spPr>
          <a:xfrm>
            <a:off x="275999" y="3496899"/>
            <a:ext cx="11549588" cy="2838260"/>
          </a:xfrm>
          <a:prstGeom prst="rect">
            <a:avLst/>
          </a:prstGeom>
          <a:solidFill>
            <a:schemeClr val="bg2"/>
          </a:solidFill>
          <a:ln w="38100" cmpd="sng">
            <a:noFill/>
          </a:ln>
          <a:effectLst/>
        </p:spPr>
        <p:style>
          <a:lnRef idx="2">
            <a:schemeClr val="accent1"/>
          </a:lnRef>
          <a:fillRef idx="0">
            <a:schemeClr val="accent1"/>
          </a:fillRef>
          <a:effectRef idx="1">
            <a:schemeClr val="accent1"/>
          </a:effectRef>
          <a:fontRef idx="minor">
            <a:schemeClr val="tx1"/>
          </a:fontRef>
        </p:style>
        <p:txBody>
          <a:bodyPr rtlCol="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456628" marR="0" lvl="0" indent="0" algn="l" defTabSz="448193" rtl="0" eaLnBrk="1" fontAlgn="auto" latinLnBrk="0" hangingPunct="1">
              <a:lnSpc>
                <a:spcPct val="100000"/>
              </a:lnSpc>
              <a:spcBef>
                <a:spcPts val="0"/>
              </a:spcBef>
              <a:spcAft>
                <a:spcPts val="0"/>
              </a:spcAft>
              <a:buClrTx/>
              <a:buSzTx/>
              <a:buFontTx/>
              <a:buNone/>
              <a:tabLst/>
              <a:defRPr/>
            </a:pPr>
            <a:r>
              <a:rPr kumimoji="0" lang="en-US" sz="3137" b="1" i="0" u="none" strike="noStrike" kern="1200" cap="none" spc="0" normalizeH="0" baseline="0" noProof="0" dirty="0">
                <a:ln>
                  <a:noFill/>
                </a:ln>
                <a:solidFill>
                  <a:srgbClr val="FFFFFF"/>
                </a:solidFill>
                <a:effectLst/>
                <a:uLnTx/>
                <a:uFillTx/>
                <a:latin typeface="Arial"/>
                <a:ea typeface="+mn-ea"/>
                <a:cs typeface="Arial"/>
              </a:rPr>
              <a:t>    </a:t>
            </a:r>
          </a:p>
        </p:txBody>
      </p:sp>
      <p:grpSp>
        <p:nvGrpSpPr>
          <p:cNvPr id="104" name="Group 103"/>
          <p:cNvGrpSpPr/>
          <p:nvPr/>
        </p:nvGrpSpPr>
        <p:grpSpPr>
          <a:xfrm>
            <a:off x="384346" y="3606310"/>
            <a:ext cx="2290920" cy="2619435"/>
            <a:chOff x="417452" y="3963789"/>
            <a:chExt cx="2336858" cy="2671960"/>
          </a:xfrm>
        </p:grpSpPr>
        <p:sp>
          <p:nvSpPr>
            <p:cNvPr id="105" name="Rectangle 104"/>
            <p:cNvSpPr/>
            <p:nvPr/>
          </p:nvSpPr>
          <p:spPr>
            <a:xfrm>
              <a:off x="417452" y="3963789"/>
              <a:ext cx="2336858" cy="369827"/>
            </a:xfrm>
            <a:prstGeom prst="rect">
              <a:avLst/>
            </a:prstGeom>
            <a:solidFill>
              <a:schemeClr val="accent2"/>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89642" rIns="0" bIns="89642"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100000"/>
                </a:lnSpc>
                <a:spcBef>
                  <a:spcPts val="0"/>
                </a:spcBef>
                <a:spcAft>
                  <a:spcPts val="0"/>
                </a:spcAft>
                <a:buClrTx/>
                <a:buSzTx/>
                <a:buFontTx/>
                <a:buNone/>
                <a:tabLst/>
                <a:defRPr/>
              </a:pPr>
              <a:r>
                <a:rPr kumimoji="0" lang="en-US" sz="1274" b="0" i="0" u="none" strike="noStrike" kern="1200" cap="none" spc="0" normalizeH="0" baseline="0" noProof="0" dirty="0">
                  <a:ln>
                    <a:noFill/>
                  </a:ln>
                  <a:gradFill>
                    <a:gsLst>
                      <a:gs pos="1250">
                        <a:schemeClr val="bg1"/>
                      </a:gs>
                      <a:gs pos="100000">
                        <a:schemeClr val="bg1"/>
                      </a:gs>
                    </a:gsLst>
                    <a:lin ang="5400000" scaled="0"/>
                  </a:gradFill>
                  <a:effectLst/>
                  <a:uLnTx/>
                  <a:uFillTx/>
                  <a:latin typeface="+mn-lt"/>
                  <a:ea typeface="+mn-ea"/>
                  <a:cs typeface="Arial"/>
                </a:rPr>
                <a:t>Governance and integration</a:t>
              </a:r>
            </a:p>
          </p:txBody>
        </p:sp>
        <p:sp>
          <p:nvSpPr>
            <p:cNvPr id="106" name="Rectangle 105"/>
            <p:cNvSpPr/>
            <p:nvPr/>
          </p:nvSpPr>
          <p:spPr>
            <a:xfrm>
              <a:off x="417452" y="4366378"/>
              <a:ext cx="2336858" cy="2269371"/>
            </a:xfrm>
            <a:prstGeom prst="rect">
              <a:avLst/>
            </a:prstGeom>
            <a:solidFill>
              <a:schemeClr val="bg1"/>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89642" rIns="179285" bIns="89642"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Data workflow, lifecycle and governance</a:t>
              </a: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Falcon</a:t>
              </a: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dirty="0" err="1">
                  <a:ln>
                    <a:noFill/>
                  </a:ln>
                  <a:gradFill>
                    <a:gsLst>
                      <a:gs pos="2917">
                        <a:schemeClr val="tx1"/>
                      </a:gs>
                      <a:gs pos="100000">
                        <a:schemeClr val="tx1"/>
                      </a:gs>
                    </a:gsLst>
                    <a:lin ang="5400000" scaled="0"/>
                  </a:gradFill>
                  <a:effectLst/>
                  <a:uLnTx/>
                  <a:uFillTx/>
                  <a:latin typeface="+mn-lt"/>
                  <a:ea typeface="+mn-ea"/>
                  <a:cs typeface="Arial"/>
                </a:rPr>
                <a:t>Sqoop</a:t>
              </a:r>
              <a:endParaRPr kumimoji="0" lang="en-US" sz="1176"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Flume</a:t>
              </a: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NFS</a:t>
              </a: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dirty="0" err="1">
                  <a:ln>
                    <a:noFill/>
                  </a:ln>
                  <a:gradFill>
                    <a:gsLst>
                      <a:gs pos="2917">
                        <a:schemeClr val="tx1"/>
                      </a:gs>
                      <a:gs pos="100000">
                        <a:schemeClr val="tx1"/>
                      </a:gs>
                    </a:gsLst>
                    <a:lin ang="5400000" scaled="0"/>
                  </a:gradFill>
                  <a:effectLst/>
                  <a:uLnTx/>
                  <a:uFillTx/>
                  <a:latin typeface="+mn-lt"/>
                  <a:ea typeface="+mn-ea"/>
                  <a:cs typeface="Arial"/>
                </a:rPr>
                <a:t>WebHDFS</a:t>
              </a:r>
              <a:endParaRPr kumimoji="0" lang="en-US" sz="1176"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endParaRPr>
            </a:p>
          </p:txBody>
        </p:sp>
      </p:grpSp>
      <p:grpSp>
        <p:nvGrpSpPr>
          <p:cNvPr id="107" name="Group 106"/>
          <p:cNvGrpSpPr/>
          <p:nvPr/>
        </p:nvGrpSpPr>
        <p:grpSpPr>
          <a:xfrm>
            <a:off x="2732161" y="3606312"/>
            <a:ext cx="4260706" cy="2619434"/>
            <a:chOff x="2804592" y="3963789"/>
            <a:chExt cx="4346142" cy="2671959"/>
          </a:xfrm>
        </p:grpSpPr>
        <p:sp>
          <p:nvSpPr>
            <p:cNvPr id="108" name="Rectangle 107"/>
            <p:cNvSpPr/>
            <p:nvPr/>
          </p:nvSpPr>
          <p:spPr>
            <a:xfrm>
              <a:off x="2804592" y="5441881"/>
              <a:ext cx="4346141" cy="1193867"/>
            </a:xfrm>
            <a:prstGeom prst="rect">
              <a:avLst/>
            </a:prstGeom>
            <a:solidFill>
              <a:schemeClr val="bg1"/>
            </a:solidFill>
            <a:ln w="12700" cmpd="sng">
              <a:noFill/>
            </a:ln>
            <a:effectLst/>
          </p:spPr>
          <p:style>
            <a:lnRef idx="1">
              <a:schemeClr val="accent1"/>
            </a:lnRef>
            <a:fillRef idx="3">
              <a:schemeClr val="accent1"/>
            </a:fillRef>
            <a:effectRef idx="2">
              <a:schemeClr val="accent1"/>
            </a:effectRef>
            <a:fontRef idx="minor">
              <a:schemeClr val="lt1"/>
            </a:fontRef>
          </p:style>
          <p:txBody>
            <a:bodyPr lIns="89642"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100000"/>
                </a:lnSpc>
                <a:spcBef>
                  <a:spcPts val="0"/>
                </a:spcBef>
                <a:spcAft>
                  <a:spcPts val="0"/>
                </a:spcAft>
                <a:buClrTx/>
                <a:buSzTx/>
                <a:buFontTx/>
                <a:buNone/>
                <a:tabLst/>
                <a:defRPr/>
              </a:pPr>
              <a:r>
                <a:rPr kumimoji="0" lang="en-US" sz="1078" b="1" i="0" u="none" strike="noStrike" kern="1200" cap="none" spc="0" normalizeH="0" baseline="0" noProof="0" dirty="0">
                  <a:ln>
                    <a:noFill/>
                  </a:ln>
                  <a:solidFill>
                    <a:prstClr val="black">
                      <a:lumMod val="65000"/>
                      <a:lumOff val="35000"/>
                    </a:prstClr>
                  </a:solidFill>
                  <a:effectLst/>
                  <a:uLnTx/>
                  <a:uFillTx/>
                  <a:latin typeface="Arial"/>
                  <a:ea typeface="+mn-ea"/>
                  <a:cs typeface="Arial"/>
                </a:rPr>
                <a:t> </a:t>
              </a:r>
            </a:p>
          </p:txBody>
        </p:sp>
        <p:sp>
          <p:nvSpPr>
            <p:cNvPr id="109" name="Rectangle 108"/>
            <p:cNvSpPr/>
            <p:nvPr/>
          </p:nvSpPr>
          <p:spPr>
            <a:xfrm>
              <a:off x="2804594" y="4366380"/>
              <a:ext cx="4346140" cy="1035884"/>
            </a:xfrm>
            <a:prstGeom prst="rect">
              <a:avLst/>
            </a:prstGeom>
            <a:solidFill>
              <a:schemeClr val="bg1"/>
            </a:solidFill>
            <a:ln w="12700" cmpd="sng">
              <a:noFill/>
            </a:ln>
            <a:effectLst/>
          </p:spPr>
          <p:style>
            <a:lnRef idx="1">
              <a:schemeClr val="accent1"/>
            </a:lnRef>
            <a:fillRef idx="3">
              <a:schemeClr val="accent1"/>
            </a:fillRef>
            <a:effectRef idx="2">
              <a:schemeClr val="accent1"/>
            </a:effectRef>
            <a:fontRef idx="minor">
              <a:schemeClr val="lt1"/>
            </a:fontRef>
          </p:style>
          <p:txBody>
            <a:bodyPr lIns="89642"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100000"/>
                </a:lnSpc>
                <a:spcBef>
                  <a:spcPts val="0"/>
                </a:spcBef>
                <a:spcAft>
                  <a:spcPts val="0"/>
                </a:spcAft>
                <a:buClrTx/>
                <a:buSzTx/>
                <a:buFontTx/>
                <a:buNone/>
                <a:tabLst/>
                <a:defRPr/>
              </a:pPr>
              <a:endParaRPr kumimoji="0" lang="en-US" sz="1078" b="1" i="0" u="none" strike="noStrike" kern="1200" cap="none" spc="0" normalizeH="0" baseline="0" noProof="0" dirty="0">
                <a:ln>
                  <a:noFill/>
                </a:ln>
                <a:solidFill>
                  <a:prstClr val="black">
                    <a:lumMod val="65000"/>
                    <a:lumOff val="35000"/>
                  </a:prstClr>
                </a:solidFill>
                <a:effectLst/>
                <a:uLnTx/>
                <a:uFillTx/>
                <a:latin typeface="Arial"/>
                <a:ea typeface="+mn-ea"/>
                <a:cs typeface="Arial"/>
              </a:endParaRPr>
            </a:p>
          </p:txBody>
        </p:sp>
        <p:sp>
          <p:nvSpPr>
            <p:cNvPr id="110" name="Rectangle 109"/>
            <p:cNvSpPr>
              <a:spLocks/>
            </p:cNvSpPr>
            <p:nvPr/>
          </p:nvSpPr>
          <p:spPr>
            <a:xfrm>
              <a:off x="2893160" y="5169183"/>
              <a:ext cx="4149460" cy="461997"/>
            </a:xfrm>
            <a:prstGeom prst="rect">
              <a:avLst/>
            </a:prstGeom>
            <a:solidFill>
              <a:schemeClr val="accent2">
                <a:lumMod val="7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lIns="179285" tIns="134464" rIns="179285"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rPr>
                <a:t>YARN: data operating system</a:t>
              </a:r>
            </a:p>
          </p:txBody>
        </p:sp>
        <p:sp>
          <p:nvSpPr>
            <p:cNvPr id="111" name="Rounded Rectangle 37"/>
            <p:cNvSpPr>
              <a:spLocks/>
            </p:cNvSpPr>
            <p:nvPr/>
          </p:nvSpPr>
          <p:spPr>
            <a:xfrm>
              <a:off x="3471794" y="4443822"/>
              <a:ext cx="548640" cy="81785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2"/>
            </a:solidFill>
            <a:ln w="9525" cmpd="sng">
              <a:noFill/>
            </a:ln>
            <a:effectLst/>
          </p:spPr>
          <p:style>
            <a:lnRef idx="1">
              <a:schemeClr val="accent1"/>
            </a:lnRef>
            <a:fillRef idx="3">
              <a:schemeClr val="accent1"/>
            </a:fillRef>
            <a:effectRef idx="2">
              <a:schemeClr val="accent1"/>
            </a:effectRef>
            <a:fontRef idx="minor">
              <a:schemeClr val="lt1"/>
            </a:fontRef>
          </p:style>
          <p:txBody>
            <a:bodyPr lIns="17928"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078" b="0" i="0" u="none" strike="noStrike" kern="0" cap="none" spc="0" normalizeH="0" baseline="0" noProof="0" dirty="0">
                  <a:ln>
                    <a:noFill/>
                  </a:ln>
                  <a:gradFill>
                    <a:gsLst>
                      <a:gs pos="2917">
                        <a:schemeClr val="bg1"/>
                      </a:gs>
                      <a:gs pos="100000">
                        <a:schemeClr val="bg1"/>
                      </a:gs>
                    </a:gsLst>
                    <a:lin ang="5400000" scaled="0"/>
                  </a:gradFill>
                  <a:effectLst/>
                  <a:uLnTx/>
                  <a:uFillTx/>
                  <a:latin typeface="Segoe UI Semibold" panose="020B0702040204020203" pitchFamily="34" charset="0"/>
                  <a:ea typeface="+mn-ea"/>
                  <a:cs typeface="Segoe UI Semibold" panose="020B0702040204020203" pitchFamily="34" charset="0"/>
                </a:rPr>
                <a:t>Script</a:t>
              </a:r>
            </a:p>
            <a:p>
              <a:pPr marL="0" marR="0" lvl="0" indent="0" algn="l" defTabSz="448193" rtl="0" eaLnBrk="1" fontAlgn="auto" latinLnBrk="0" hangingPunct="1">
                <a:lnSpc>
                  <a:spcPct val="90000"/>
                </a:lnSpc>
                <a:spcBef>
                  <a:spcPts val="0"/>
                </a:spcBef>
                <a:spcAft>
                  <a:spcPts val="0"/>
                </a:spcAft>
                <a:buClrTx/>
                <a:buSzTx/>
                <a:buFontTx/>
                <a:buNone/>
                <a:tabLst/>
                <a:defRPr/>
              </a:pPr>
              <a:br>
                <a:rPr kumimoji="0" lang="en-US" sz="882" b="0"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rPr>
              </a:br>
              <a:r>
                <a:rPr kumimoji="0" lang="en-US" sz="882" b="0"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rPr>
                <a:t>Pig</a:t>
              </a: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p:txBody>
        </p:sp>
        <p:sp>
          <p:nvSpPr>
            <p:cNvPr id="144" name="Rounded Rectangle 37"/>
            <p:cNvSpPr>
              <a:spLocks/>
            </p:cNvSpPr>
            <p:nvPr/>
          </p:nvSpPr>
          <p:spPr>
            <a:xfrm>
              <a:off x="5786335" y="4443822"/>
              <a:ext cx="548640" cy="81785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2"/>
            </a:solidFill>
            <a:ln w="9525" cmpd="sng">
              <a:noFill/>
            </a:ln>
            <a:effectLst/>
          </p:spPr>
          <p:style>
            <a:lnRef idx="1">
              <a:schemeClr val="accent1"/>
            </a:lnRef>
            <a:fillRef idx="3">
              <a:schemeClr val="accent1"/>
            </a:fillRef>
            <a:effectRef idx="2">
              <a:schemeClr val="accent1"/>
            </a:effectRef>
            <a:fontRef idx="minor">
              <a:schemeClr val="lt1"/>
            </a:fontRef>
          </p:style>
          <p:txBody>
            <a:bodyPr lIns="17928"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078" b="0" i="0" u="none" strike="noStrike" kern="0" cap="none" spc="0" normalizeH="0" baseline="0" noProof="0" dirty="0">
                  <a:ln>
                    <a:noFill/>
                  </a:ln>
                  <a:gradFill>
                    <a:gsLst>
                      <a:gs pos="2917">
                        <a:schemeClr val="bg1"/>
                      </a:gs>
                      <a:gs pos="100000">
                        <a:schemeClr val="bg1"/>
                      </a:gs>
                    </a:gsLst>
                    <a:lin ang="5400000" scaled="0"/>
                  </a:gradFill>
                  <a:effectLst/>
                  <a:uLnTx/>
                  <a:uFillTx/>
                  <a:latin typeface="Segoe UI Semibold" panose="020B0702040204020203" pitchFamily="34" charset="0"/>
                  <a:ea typeface="+mn-ea"/>
                  <a:cs typeface="Segoe UI Semibold" panose="020B0702040204020203" pitchFamily="34" charset="0"/>
                </a:rPr>
                <a:t>Search</a:t>
              </a: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882" b="0"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rPr>
                <a:t>Solr</a:t>
              </a: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p:txBody>
        </p:sp>
        <p:sp>
          <p:nvSpPr>
            <p:cNvPr id="146" name="Rounded Rectangle 37"/>
            <p:cNvSpPr>
              <a:spLocks/>
            </p:cNvSpPr>
            <p:nvPr/>
          </p:nvSpPr>
          <p:spPr>
            <a:xfrm>
              <a:off x="4050429" y="4443822"/>
              <a:ext cx="548640" cy="81785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2"/>
            </a:solidFill>
            <a:ln w="9525" cmpd="sng">
              <a:noFill/>
            </a:ln>
            <a:effectLst/>
          </p:spPr>
          <p:style>
            <a:lnRef idx="1">
              <a:schemeClr val="accent1"/>
            </a:lnRef>
            <a:fillRef idx="3">
              <a:schemeClr val="accent1"/>
            </a:fillRef>
            <a:effectRef idx="2">
              <a:schemeClr val="accent1"/>
            </a:effectRef>
            <a:fontRef idx="minor">
              <a:schemeClr val="lt1"/>
            </a:fontRef>
          </p:style>
          <p:txBody>
            <a:bodyPr lIns="17928"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078" b="0" i="0" u="none" strike="noStrike" kern="0" cap="none" spc="0" normalizeH="0" baseline="0" noProof="0" dirty="0">
                  <a:ln>
                    <a:noFill/>
                  </a:ln>
                  <a:gradFill>
                    <a:gsLst>
                      <a:gs pos="2917">
                        <a:schemeClr val="bg1"/>
                      </a:gs>
                      <a:gs pos="100000">
                        <a:schemeClr val="bg1"/>
                      </a:gs>
                    </a:gsLst>
                    <a:lin ang="5400000" scaled="0"/>
                  </a:gradFill>
                  <a:effectLst/>
                  <a:uLnTx/>
                  <a:uFillTx/>
                  <a:latin typeface="Segoe UI Semibold" panose="020B0702040204020203" pitchFamily="34" charset="0"/>
                  <a:ea typeface="+mn-ea"/>
                  <a:cs typeface="Segoe UI Semibold" panose="020B0702040204020203" pitchFamily="34" charset="0"/>
                </a:rPr>
                <a:t>SQL</a:t>
              </a: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882" b="0"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rPr>
                <a:t>Hive/Tez, HCatalog</a:t>
              </a: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p:txBody>
        </p:sp>
        <p:sp>
          <p:nvSpPr>
            <p:cNvPr id="147" name="Rounded Rectangle 37"/>
            <p:cNvSpPr>
              <a:spLocks/>
            </p:cNvSpPr>
            <p:nvPr/>
          </p:nvSpPr>
          <p:spPr>
            <a:xfrm>
              <a:off x="4629064" y="4443822"/>
              <a:ext cx="548640" cy="81785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2"/>
            </a:solidFill>
            <a:ln w="9525" cmpd="sng">
              <a:noFill/>
            </a:ln>
            <a:effectLst/>
          </p:spPr>
          <p:style>
            <a:lnRef idx="1">
              <a:schemeClr val="accent1"/>
            </a:lnRef>
            <a:fillRef idx="3">
              <a:schemeClr val="accent1"/>
            </a:fillRef>
            <a:effectRef idx="2">
              <a:schemeClr val="accent1"/>
            </a:effectRef>
            <a:fontRef idx="minor">
              <a:schemeClr val="lt1"/>
            </a:fontRef>
          </p:style>
          <p:txBody>
            <a:bodyPr lIns="17928"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078" b="0" i="0" u="none" strike="noStrike" kern="0" cap="none" spc="0" normalizeH="0" baseline="0" noProof="0" dirty="0" err="1">
                  <a:ln>
                    <a:noFill/>
                  </a:ln>
                  <a:gradFill>
                    <a:gsLst>
                      <a:gs pos="2917">
                        <a:schemeClr val="bg1"/>
                      </a:gs>
                      <a:gs pos="100000">
                        <a:schemeClr val="bg1"/>
                      </a:gs>
                    </a:gsLst>
                    <a:lin ang="5400000" scaled="0"/>
                  </a:gradFill>
                  <a:effectLst/>
                  <a:uLnTx/>
                  <a:uFillTx/>
                  <a:latin typeface="Segoe UI Semibold" panose="020B0702040204020203" pitchFamily="34" charset="0"/>
                  <a:ea typeface="+mn-ea"/>
                  <a:cs typeface="Segoe UI Semibold" panose="020B0702040204020203" pitchFamily="34" charset="0"/>
                </a:rPr>
                <a:t>Nosql</a:t>
              </a:r>
              <a:endParaRPr kumimoji="0" lang="en-US" sz="1078" b="0" i="0" u="none" strike="noStrike" kern="0" cap="none" spc="0" normalizeH="0" baseline="0" noProof="0" dirty="0">
                <a:ln>
                  <a:noFill/>
                </a:ln>
                <a:gradFill>
                  <a:gsLst>
                    <a:gs pos="2917">
                      <a:schemeClr val="bg1"/>
                    </a:gs>
                    <a:gs pos="100000">
                      <a:schemeClr val="bg1"/>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882" b="0" i="0" u="none" strike="noStrike" kern="0" cap="none" spc="0" normalizeH="0" baseline="0" noProof="0" dirty="0" err="1">
                  <a:ln>
                    <a:noFill/>
                  </a:ln>
                  <a:gradFill>
                    <a:gsLst>
                      <a:gs pos="2917">
                        <a:schemeClr val="bg1"/>
                      </a:gs>
                      <a:gs pos="100000">
                        <a:schemeClr val="bg1"/>
                      </a:gs>
                    </a:gsLst>
                    <a:lin ang="5400000" scaled="0"/>
                  </a:gradFill>
                  <a:effectLst/>
                  <a:uLnTx/>
                  <a:uFillTx/>
                  <a:latin typeface="+mn-lt"/>
                  <a:ea typeface="+mn-ea"/>
                  <a:cs typeface="Arial"/>
                </a:rPr>
                <a:t>Hbase</a:t>
              </a:r>
              <a:endParaRPr kumimoji="0" lang="en-US" sz="882" b="0"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882" b="0" i="0" u="none" strike="noStrike" kern="0" cap="none" spc="0" normalizeH="0" baseline="0" noProof="0" dirty="0" err="1">
                  <a:ln>
                    <a:noFill/>
                  </a:ln>
                  <a:gradFill>
                    <a:gsLst>
                      <a:gs pos="2917">
                        <a:schemeClr val="bg1"/>
                      </a:gs>
                      <a:gs pos="100000">
                        <a:schemeClr val="bg1"/>
                      </a:gs>
                    </a:gsLst>
                    <a:lin ang="5400000" scaled="0"/>
                  </a:gradFill>
                  <a:effectLst/>
                  <a:uLnTx/>
                  <a:uFillTx/>
                  <a:latin typeface="+mn-lt"/>
                  <a:ea typeface="+mn-ea"/>
                  <a:cs typeface="Arial"/>
                </a:rPr>
                <a:t>Accumulo</a:t>
              </a:r>
              <a:endParaRPr kumimoji="0" lang="en-US" sz="882" b="0"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p:txBody>
        </p:sp>
        <p:sp>
          <p:nvSpPr>
            <p:cNvPr id="157" name="Rounded Rectangle 37"/>
            <p:cNvSpPr>
              <a:spLocks/>
            </p:cNvSpPr>
            <p:nvPr/>
          </p:nvSpPr>
          <p:spPr>
            <a:xfrm>
              <a:off x="5207699" y="4443822"/>
              <a:ext cx="548640" cy="81785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2"/>
            </a:solidFill>
            <a:ln w="9525" cmpd="sng">
              <a:noFill/>
            </a:ln>
            <a:effectLst/>
          </p:spPr>
          <p:style>
            <a:lnRef idx="1">
              <a:schemeClr val="accent1"/>
            </a:lnRef>
            <a:fillRef idx="3">
              <a:schemeClr val="accent1"/>
            </a:fillRef>
            <a:effectRef idx="2">
              <a:schemeClr val="accent1"/>
            </a:effectRef>
            <a:fontRef idx="minor">
              <a:schemeClr val="lt1"/>
            </a:fontRef>
          </p:style>
          <p:txBody>
            <a:bodyPr lIns="17928"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078" b="0" i="0" u="none" strike="noStrike" kern="0" cap="none" spc="0" normalizeH="0" baseline="0" noProof="0" dirty="0">
                  <a:ln>
                    <a:noFill/>
                  </a:ln>
                  <a:gradFill>
                    <a:gsLst>
                      <a:gs pos="2917">
                        <a:schemeClr val="bg1"/>
                      </a:gs>
                      <a:gs pos="100000">
                        <a:schemeClr val="bg1"/>
                      </a:gs>
                    </a:gsLst>
                    <a:lin ang="5400000" scaled="0"/>
                  </a:gradFill>
                  <a:effectLst/>
                  <a:uLnTx/>
                  <a:uFillTx/>
                  <a:latin typeface="Segoe UI Semibold" panose="020B0702040204020203" pitchFamily="34" charset="0"/>
                  <a:ea typeface="+mn-ea"/>
                  <a:cs typeface="Segoe UI Semibold" panose="020B0702040204020203" pitchFamily="34" charset="0"/>
                </a:rPr>
                <a:t>Stream</a:t>
              </a: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rPr>
                <a:t> </a:t>
              </a: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882" b="0"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rPr>
                <a:t>Storm</a:t>
              </a: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0"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p:txBody>
        </p:sp>
        <p:sp>
          <p:nvSpPr>
            <p:cNvPr id="168" name="Rounded Rectangle 37"/>
            <p:cNvSpPr>
              <a:spLocks/>
            </p:cNvSpPr>
            <p:nvPr/>
          </p:nvSpPr>
          <p:spPr>
            <a:xfrm>
              <a:off x="6364972" y="4443822"/>
              <a:ext cx="677647" cy="81785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2"/>
            </a:solidFill>
            <a:ln w="9525" cmpd="sng">
              <a:noFill/>
              <a:prstDash val="dash"/>
            </a:ln>
            <a:effectLst/>
          </p:spPr>
          <p:style>
            <a:lnRef idx="1">
              <a:schemeClr val="accent1"/>
            </a:lnRef>
            <a:fillRef idx="3">
              <a:schemeClr val="accent1"/>
            </a:fillRef>
            <a:effectRef idx="2">
              <a:schemeClr val="accent1"/>
            </a:effectRef>
            <a:fontRef idx="minor">
              <a:schemeClr val="lt1"/>
            </a:fontRef>
          </p:style>
          <p:txBody>
            <a:bodyPr lIns="17928"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078" b="0" i="0" u="none" strike="noStrike" kern="0" cap="none" spc="0" normalizeH="0" baseline="0" noProof="0" dirty="0">
                  <a:ln>
                    <a:noFill/>
                  </a:ln>
                  <a:gradFill>
                    <a:gsLst>
                      <a:gs pos="2917">
                        <a:schemeClr val="bg1"/>
                      </a:gs>
                      <a:gs pos="100000">
                        <a:schemeClr val="bg1"/>
                      </a:gs>
                    </a:gsLst>
                    <a:lin ang="5400000" scaled="0"/>
                  </a:gradFill>
                  <a:effectLst/>
                  <a:uLnTx/>
                  <a:uFillTx/>
                  <a:latin typeface="Segoe UI Semibold" panose="020B0702040204020203" pitchFamily="34" charset="0"/>
                  <a:ea typeface="+mn-ea"/>
                  <a:cs typeface="Segoe UI Semibold" panose="020B0702040204020203" pitchFamily="34" charset="0"/>
                </a:rPr>
                <a:t>Others</a:t>
              </a: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882" b="0"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rPr>
                <a:t>Spark, </a:t>
              </a:r>
              <a:br>
                <a:rPr kumimoji="0" lang="en-US" sz="882" b="0"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rPr>
              </a:br>
              <a:r>
                <a:rPr kumimoji="0" lang="en-US" sz="882" b="0"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rPr>
                <a:t>in-memory, </a:t>
              </a: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882" b="0"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rPr>
                <a:t>ISV engines</a:t>
              </a:r>
            </a:p>
          </p:txBody>
        </p:sp>
        <p:grpSp>
          <p:nvGrpSpPr>
            <p:cNvPr id="169" name="Group 168"/>
            <p:cNvGrpSpPr/>
            <p:nvPr/>
          </p:nvGrpSpPr>
          <p:grpSpPr>
            <a:xfrm>
              <a:off x="2893160" y="5666724"/>
              <a:ext cx="4149597" cy="644912"/>
              <a:chOff x="2499285" y="4541714"/>
              <a:chExt cx="3308943" cy="727355"/>
            </a:xfrm>
            <a:solidFill>
              <a:schemeClr val="bg1">
                <a:lumMod val="85000"/>
              </a:schemeClr>
            </a:solidFill>
          </p:grpSpPr>
          <p:grpSp>
            <p:nvGrpSpPr>
              <p:cNvPr id="198" name="Group 197"/>
              <p:cNvGrpSpPr/>
              <p:nvPr/>
            </p:nvGrpSpPr>
            <p:grpSpPr>
              <a:xfrm>
                <a:off x="2499285" y="4541714"/>
                <a:ext cx="3001931" cy="727355"/>
                <a:chOff x="2573538" y="3889648"/>
                <a:chExt cx="3001931" cy="727355"/>
              </a:xfrm>
              <a:grpFill/>
            </p:grpSpPr>
            <p:sp>
              <p:nvSpPr>
                <p:cNvPr id="212" name="Rounded Rectangle 211"/>
                <p:cNvSpPr>
                  <a:spLocks/>
                </p:cNvSpPr>
                <p:nvPr/>
              </p:nvSpPr>
              <p:spPr>
                <a:xfrm>
                  <a:off x="2573538"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1</a:t>
                  </a:r>
                </a:p>
              </p:txBody>
            </p:sp>
            <p:sp>
              <p:nvSpPr>
                <p:cNvPr id="213" name="Rounded Rectangle 212"/>
                <p:cNvSpPr>
                  <a:spLocks/>
                </p:cNvSpPr>
                <p:nvPr/>
              </p:nvSpPr>
              <p:spPr>
                <a:xfrm>
                  <a:off x="2876974"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14" name="Rounded Rectangle 213"/>
                <p:cNvSpPr>
                  <a:spLocks/>
                </p:cNvSpPr>
                <p:nvPr/>
              </p:nvSpPr>
              <p:spPr>
                <a:xfrm>
                  <a:off x="3180410"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16" name="Rounded Rectangle 215"/>
                <p:cNvSpPr>
                  <a:spLocks/>
                </p:cNvSpPr>
                <p:nvPr/>
              </p:nvSpPr>
              <p:spPr>
                <a:xfrm>
                  <a:off x="3483846"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17" name="Rounded Rectangle 216"/>
                <p:cNvSpPr>
                  <a:spLocks/>
                </p:cNvSpPr>
                <p:nvPr/>
              </p:nvSpPr>
              <p:spPr>
                <a:xfrm>
                  <a:off x="3787282"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29" name="Rounded Rectangle 228"/>
                <p:cNvSpPr>
                  <a:spLocks/>
                </p:cNvSpPr>
                <p:nvPr/>
              </p:nvSpPr>
              <p:spPr>
                <a:xfrm>
                  <a:off x="4090718"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30" name="Rounded Rectangle 229"/>
                <p:cNvSpPr>
                  <a:spLocks/>
                </p:cNvSpPr>
                <p:nvPr/>
              </p:nvSpPr>
              <p:spPr>
                <a:xfrm>
                  <a:off x="4394154"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31" name="Rounded Rectangle 230"/>
                <p:cNvSpPr>
                  <a:spLocks/>
                </p:cNvSpPr>
                <p:nvPr/>
              </p:nvSpPr>
              <p:spPr>
                <a:xfrm>
                  <a:off x="4697590"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32" name="Rounded Rectangle 231"/>
                <p:cNvSpPr>
                  <a:spLocks/>
                </p:cNvSpPr>
                <p:nvPr/>
              </p:nvSpPr>
              <p:spPr>
                <a:xfrm>
                  <a:off x="5001026"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33" name="Rounded Rectangle 232"/>
                <p:cNvSpPr>
                  <a:spLocks/>
                </p:cNvSpPr>
                <p:nvPr/>
              </p:nvSpPr>
              <p:spPr>
                <a:xfrm>
                  <a:off x="5304462" y="388964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34" name="Rounded Rectangle 233"/>
                <p:cNvSpPr>
                  <a:spLocks/>
                </p:cNvSpPr>
                <p:nvPr/>
              </p:nvSpPr>
              <p:spPr>
                <a:xfrm>
                  <a:off x="2573538"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35" name="Rounded Rectangle 234"/>
                <p:cNvSpPr>
                  <a:spLocks/>
                </p:cNvSpPr>
                <p:nvPr/>
              </p:nvSpPr>
              <p:spPr>
                <a:xfrm>
                  <a:off x="2876974"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36" name="Rounded Rectangle 235"/>
                <p:cNvSpPr>
                  <a:spLocks/>
                </p:cNvSpPr>
                <p:nvPr/>
              </p:nvSpPr>
              <p:spPr>
                <a:xfrm>
                  <a:off x="3180410"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37" name="Rounded Rectangle 236"/>
                <p:cNvSpPr>
                  <a:spLocks/>
                </p:cNvSpPr>
                <p:nvPr/>
              </p:nvSpPr>
              <p:spPr>
                <a:xfrm>
                  <a:off x="3483846"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38" name="Rounded Rectangle 237"/>
                <p:cNvSpPr>
                  <a:spLocks/>
                </p:cNvSpPr>
                <p:nvPr/>
              </p:nvSpPr>
              <p:spPr>
                <a:xfrm>
                  <a:off x="3787282"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39" name="Rounded Rectangle 238"/>
                <p:cNvSpPr>
                  <a:spLocks/>
                </p:cNvSpPr>
                <p:nvPr/>
              </p:nvSpPr>
              <p:spPr>
                <a:xfrm>
                  <a:off x="4090718"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40" name="Rounded Rectangle 239"/>
                <p:cNvSpPr>
                  <a:spLocks/>
                </p:cNvSpPr>
                <p:nvPr/>
              </p:nvSpPr>
              <p:spPr>
                <a:xfrm>
                  <a:off x="4394154"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41" name="Rounded Rectangle 240"/>
                <p:cNvSpPr>
                  <a:spLocks/>
                </p:cNvSpPr>
                <p:nvPr/>
              </p:nvSpPr>
              <p:spPr>
                <a:xfrm>
                  <a:off x="4697590"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42" name="Rounded Rectangle 241"/>
                <p:cNvSpPr>
                  <a:spLocks/>
                </p:cNvSpPr>
                <p:nvPr/>
              </p:nvSpPr>
              <p:spPr>
                <a:xfrm>
                  <a:off x="5001026"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43" name="Rounded Rectangle 242"/>
                <p:cNvSpPr>
                  <a:spLocks/>
                </p:cNvSpPr>
                <p:nvPr/>
              </p:nvSpPr>
              <p:spPr>
                <a:xfrm>
                  <a:off x="5304462" y="4145352"/>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44" name="Rounded Rectangle 243"/>
                <p:cNvSpPr>
                  <a:spLocks/>
                </p:cNvSpPr>
                <p:nvPr/>
              </p:nvSpPr>
              <p:spPr>
                <a:xfrm>
                  <a:off x="2573538"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45" name="Rounded Rectangle 244"/>
                <p:cNvSpPr>
                  <a:spLocks/>
                </p:cNvSpPr>
                <p:nvPr/>
              </p:nvSpPr>
              <p:spPr>
                <a:xfrm>
                  <a:off x="2876974"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46" name="Rounded Rectangle 245"/>
                <p:cNvSpPr>
                  <a:spLocks/>
                </p:cNvSpPr>
                <p:nvPr/>
              </p:nvSpPr>
              <p:spPr>
                <a:xfrm>
                  <a:off x="3180410"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47" name="Rounded Rectangle 246"/>
                <p:cNvSpPr>
                  <a:spLocks/>
                </p:cNvSpPr>
                <p:nvPr/>
              </p:nvSpPr>
              <p:spPr>
                <a:xfrm>
                  <a:off x="3483846"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48" name="Rounded Rectangle 247"/>
                <p:cNvSpPr>
                  <a:spLocks/>
                </p:cNvSpPr>
                <p:nvPr/>
              </p:nvSpPr>
              <p:spPr>
                <a:xfrm>
                  <a:off x="3787282"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49" name="Rounded Rectangle 248"/>
                <p:cNvSpPr>
                  <a:spLocks/>
                </p:cNvSpPr>
                <p:nvPr/>
              </p:nvSpPr>
              <p:spPr>
                <a:xfrm>
                  <a:off x="4090718"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50" name="Rounded Rectangle 249"/>
                <p:cNvSpPr>
                  <a:spLocks/>
                </p:cNvSpPr>
                <p:nvPr/>
              </p:nvSpPr>
              <p:spPr>
                <a:xfrm>
                  <a:off x="4394154"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endParaRPr kumimoji="0" lang="en-US" sz="686" b="0" i="0" u="none" strike="noStrike" kern="1200" cap="none" spc="0" normalizeH="0" baseline="0" noProof="0" dirty="0">
                    <a:ln>
                      <a:noFill/>
                    </a:ln>
                    <a:noFill/>
                    <a:effectLst/>
                    <a:uLnTx/>
                    <a:uFillTx/>
                    <a:latin typeface="+mn-lt"/>
                    <a:ea typeface="+mn-ea"/>
                    <a:cs typeface="Arial"/>
                  </a:endParaRPr>
                </a:p>
              </p:txBody>
            </p:sp>
            <p:sp>
              <p:nvSpPr>
                <p:cNvPr id="251" name="Rounded Rectangle 250"/>
                <p:cNvSpPr>
                  <a:spLocks/>
                </p:cNvSpPr>
                <p:nvPr/>
              </p:nvSpPr>
              <p:spPr>
                <a:xfrm>
                  <a:off x="4697590"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endParaRPr kumimoji="0" lang="en-US" sz="686" b="0" i="0" u="none" strike="noStrike" kern="1200" cap="none" spc="0" normalizeH="0" baseline="0" noProof="0" dirty="0">
                    <a:ln>
                      <a:noFill/>
                    </a:ln>
                    <a:noFill/>
                    <a:effectLst/>
                    <a:uLnTx/>
                    <a:uFillTx/>
                    <a:latin typeface="+mn-lt"/>
                    <a:ea typeface="+mn-ea"/>
                    <a:cs typeface="Arial"/>
                  </a:endParaRPr>
                </a:p>
              </p:txBody>
            </p:sp>
            <p:sp>
              <p:nvSpPr>
                <p:cNvPr id="252" name="Rounded Rectangle 251"/>
                <p:cNvSpPr>
                  <a:spLocks/>
                </p:cNvSpPr>
                <p:nvPr/>
              </p:nvSpPr>
              <p:spPr>
                <a:xfrm>
                  <a:off x="5001026"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53" name="Rounded Rectangle 252"/>
                <p:cNvSpPr>
                  <a:spLocks/>
                </p:cNvSpPr>
                <p:nvPr/>
              </p:nvSpPr>
              <p:spPr>
                <a:xfrm>
                  <a:off x="5304462" y="439769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grpSp>
          <p:sp>
            <p:nvSpPr>
              <p:cNvPr id="200" name="Rounded Rectangle 199"/>
              <p:cNvSpPr>
                <a:spLocks/>
              </p:cNvSpPr>
              <p:nvPr/>
            </p:nvSpPr>
            <p:spPr>
              <a:xfrm>
                <a:off x="5537221" y="4541714"/>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01" name="Rounded Rectangle 200"/>
              <p:cNvSpPr>
                <a:spLocks/>
              </p:cNvSpPr>
              <p:nvPr/>
            </p:nvSpPr>
            <p:spPr>
              <a:xfrm>
                <a:off x="5537221" y="4797418"/>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noFill/>
                    <a:effectLst/>
                    <a:uLnTx/>
                    <a:uFillTx/>
                    <a:latin typeface="+mn-lt"/>
                    <a:ea typeface="+mn-ea"/>
                    <a:cs typeface="Arial"/>
                  </a:rPr>
                  <a:t>°</a:t>
                </a:r>
              </a:p>
            </p:txBody>
          </p:sp>
          <p:sp>
            <p:nvSpPr>
              <p:cNvPr id="208" name="Rounded Rectangle 207"/>
              <p:cNvSpPr>
                <a:spLocks/>
              </p:cNvSpPr>
              <p:nvPr/>
            </p:nvSpPr>
            <p:spPr>
              <a:xfrm>
                <a:off x="5537221" y="5049760"/>
                <a:ext cx="271007" cy="219309"/>
              </a:xfrm>
              <a:prstGeom prst="roundRect">
                <a:avLst>
                  <a:gd name="adj" fmla="val 5758"/>
                </a:avLst>
              </a:prstGeom>
              <a:grp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48193" rtl="0" eaLnBrk="1" fontAlgn="auto" latinLnBrk="0" hangingPunct="1">
                  <a:lnSpc>
                    <a:spcPct val="100000"/>
                  </a:lnSpc>
                  <a:spcBef>
                    <a:spcPts val="0"/>
                  </a:spcBef>
                  <a:spcAft>
                    <a:spcPts val="0"/>
                  </a:spcAft>
                  <a:buClrTx/>
                  <a:buSzTx/>
                  <a:buFontTx/>
                  <a:buNone/>
                  <a:tabLst/>
                  <a:defRPr/>
                </a:pPr>
                <a:r>
                  <a:rPr kumimoji="0" lang="en-US" sz="686" b="1" i="0" u="none" strike="noStrike" kern="1200" cap="none" spc="0" normalizeH="0" baseline="0" noProof="0" dirty="0">
                    <a:ln>
                      <a:noFill/>
                    </a:ln>
                    <a:noFill/>
                    <a:effectLst/>
                    <a:uLnTx/>
                    <a:uFillTx/>
                    <a:latin typeface="+mn-lt"/>
                    <a:ea typeface="+mn-ea"/>
                    <a:cs typeface="Arial"/>
                  </a:rPr>
                  <a:t>N</a:t>
                </a:r>
              </a:p>
            </p:txBody>
          </p:sp>
        </p:grpSp>
        <p:sp>
          <p:nvSpPr>
            <p:cNvPr id="170" name="Rounded Rectangle 37"/>
            <p:cNvSpPr>
              <a:spLocks/>
            </p:cNvSpPr>
            <p:nvPr/>
          </p:nvSpPr>
          <p:spPr>
            <a:xfrm>
              <a:off x="2893159" y="4443822"/>
              <a:ext cx="548640" cy="817853"/>
            </a:xfrm>
            <a:custGeom>
              <a:avLst/>
              <a:gdLst>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100841"/>
                <a:gd name="connsiteX1" fmla="*/ 28501 w 494985"/>
                <a:gd name="connsiteY1" fmla="*/ 0 h 1100841"/>
                <a:gd name="connsiteX2" fmla="*/ 466484 w 494985"/>
                <a:gd name="connsiteY2" fmla="*/ 0 h 1100841"/>
                <a:gd name="connsiteX3" fmla="*/ 494985 w 494985"/>
                <a:gd name="connsiteY3" fmla="*/ 28501 h 1100841"/>
                <a:gd name="connsiteX4" fmla="*/ 494985 w 494985"/>
                <a:gd name="connsiteY4" fmla="*/ 1006985 h 1100841"/>
                <a:gd name="connsiteX5" fmla="*/ 466484 w 494985"/>
                <a:gd name="connsiteY5" fmla="*/ 1035486 h 1100841"/>
                <a:gd name="connsiteX6" fmla="*/ 202850 w 494985"/>
                <a:gd name="connsiteY6" fmla="*/ 1100839 h 1100841"/>
                <a:gd name="connsiteX7" fmla="*/ 28501 w 494985"/>
                <a:gd name="connsiteY7" fmla="*/ 1035486 h 1100841"/>
                <a:gd name="connsiteX8" fmla="*/ 0 w 494985"/>
                <a:gd name="connsiteY8" fmla="*/ 1006985 h 1100841"/>
                <a:gd name="connsiteX9" fmla="*/ 0 w 494985"/>
                <a:gd name="connsiteY9" fmla="*/ 28501 h 1100841"/>
                <a:gd name="connsiteX0" fmla="*/ 0 w 494985"/>
                <a:gd name="connsiteY0" fmla="*/ 28501 h 1122703"/>
                <a:gd name="connsiteX1" fmla="*/ 28501 w 494985"/>
                <a:gd name="connsiteY1" fmla="*/ 0 h 1122703"/>
                <a:gd name="connsiteX2" fmla="*/ 466484 w 494985"/>
                <a:gd name="connsiteY2" fmla="*/ 0 h 1122703"/>
                <a:gd name="connsiteX3" fmla="*/ 494985 w 494985"/>
                <a:gd name="connsiteY3" fmla="*/ 28501 h 1122703"/>
                <a:gd name="connsiteX4" fmla="*/ 494985 w 494985"/>
                <a:gd name="connsiteY4" fmla="*/ 1006985 h 1122703"/>
                <a:gd name="connsiteX5" fmla="*/ 466484 w 494985"/>
                <a:gd name="connsiteY5" fmla="*/ 1035486 h 1122703"/>
                <a:gd name="connsiteX6" fmla="*/ 326675 w 494985"/>
                <a:gd name="connsiteY6" fmla="*/ 1119889 h 1122703"/>
                <a:gd name="connsiteX7" fmla="*/ 202850 w 494985"/>
                <a:gd name="connsiteY7" fmla="*/ 1100839 h 1122703"/>
                <a:gd name="connsiteX8" fmla="*/ 28501 w 494985"/>
                <a:gd name="connsiteY8" fmla="*/ 1035486 h 1122703"/>
                <a:gd name="connsiteX9" fmla="*/ 0 w 494985"/>
                <a:gd name="connsiteY9" fmla="*/ 1006985 h 1122703"/>
                <a:gd name="connsiteX10" fmla="*/ 0 w 494985"/>
                <a:gd name="connsiteY10" fmla="*/ 28501 h 1122703"/>
                <a:gd name="connsiteX0" fmla="*/ 0 w 494985"/>
                <a:gd name="connsiteY0" fmla="*/ 28501 h 1120138"/>
                <a:gd name="connsiteX1" fmla="*/ 28501 w 494985"/>
                <a:gd name="connsiteY1" fmla="*/ 0 h 1120138"/>
                <a:gd name="connsiteX2" fmla="*/ 466484 w 494985"/>
                <a:gd name="connsiteY2" fmla="*/ 0 h 1120138"/>
                <a:gd name="connsiteX3" fmla="*/ 494985 w 494985"/>
                <a:gd name="connsiteY3" fmla="*/ 28501 h 1120138"/>
                <a:gd name="connsiteX4" fmla="*/ 494985 w 494985"/>
                <a:gd name="connsiteY4" fmla="*/ 1006985 h 1120138"/>
                <a:gd name="connsiteX5" fmla="*/ 466484 w 494985"/>
                <a:gd name="connsiteY5" fmla="*/ 1035486 h 1120138"/>
                <a:gd name="connsiteX6" fmla="*/ 364775 w 494985"/>
                <a:gd name="connsiteY6" fmla="*/ 1062739 h 1120138"/>
                <a:gd name="connsiteX7" fmla="*/ 326675 w 494985"/>
                <a:gd name="connsiteY7" fmla="*/ 1119889 h 1120138"/>
                <a:gd name="connsiteX8" fmla="*/ 202850 w 494985"/>
                <a:gd name="connsiteY8" fmla="*/ 1100839 h 1120138"/>
                <a:gd name="connsiteX9" fmla="*/ 28501 w 494985"/>
                <a:gd name="connsiteY9" fmla="*/ 1035486 h 1120138"/>
                <a:gd name="connsiteX10" fmla="*/ 0 w 494985"/>
                <a:gd name="connsiteY10" fmla="*/ 1006985 h 1120138"/>
                <a:gd name="connsiteX11" fmla="*/ 0 w 494985"/>
                <a:gd name="connsiteY11" fmla="*/ 28501 h 1120138"/>
                <a:gd name="connsiteX0" fmla="*/ 0 w 494985"/>
                <a:gd name="connsiteY0" fmla="*/ 28501 h 1126828"/>
                <a:gd name="connsiteX1" fmla="*/ 28501 w 494985"/>
                <a:gd name="connsiteY1" fmla="*/ 0 h 1126828"/>
                <a:gd name="connsiteX2" fmla="*/ 466484 w 494985"/>
                <a:gd name="connsiteY2" fmla="*/ 0 h 1126828"/>
                <a:gd name="connsiteX3" fmla="*/ 494985 w 494985"/>
                <a:gd name="connsiteY3" fmla="*/ 28501 h 1126828"/>
                <a:gd name="connsiteX4" fmla="*/ 494985 w 494985"/>
                <a:gd name="connsiteY4" fmla="*/ 1006985 h 1126828"/>
                <a:gd name="connsiteX5" fmla="*/ 466484 w 494985"/>
                <a:gd name="connsiteY5" fmla="*/ 1035486 h 1126828"/>
                <a:gd name="connsiteX6" fmla="*/ 364775 w 494985"/>
                <a:gd name="connsiteY6" fmla="*/ 1062739 h 1126828"/>
                <a:gd name="connsiteX7" fmla="*/ 326675 w 494985"/>
                <a:gd name="connsiteY7" fmla="*/ 1119889 h 1126828"/>
                <a:gd name="connsiteX8" fmla="*/ 212375 w 494985"/>
                <a:gd name="connsiteY8" fmla="*/ 1124651 h 1126828"/>
                <a:gd name="connsiteX9" fmla="*/ 28501 w 494985"/>
                <a:gd name="connsiteY9" fmla="*/ 1035486 h 1126828"/>
                <a:gd name="connsiteX10" fmla="*/ 0 w 494985"/>
                <a:gd name="connsiteY10" fmla="*/ 1006985 h 1126828"/>
                <a:gd name="connsiteX11" fmla="*/ 0 w 494985"/>
                <a:gd name="connsiteY11" fmla="*/ 28501 h 1126828"/>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45700 w 494985"/>
                <a:gd name="connsiteY9" fmla="*/ 1038927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26922"/>
                <a:gd name="connsiteX1" fmla="*/ 28501 w 494985"/>
                <a:gd name="connsiteY1" fmla="*/ 0 h 1126922"/>
                <a:gd name="connsiteX2" fmla="*/ 466484 w 494985"/>
                <a:gd name="connsiteY2" fmla="*/ 0 h 1126922"/>
                <a:gd name="connsiteX3" fmla="*/ 494985 w 494985"/>
                <a:gd name="connsiteY3" fmla="*/ 28501 h 1126922"/>
                <a:gd name="connsiteX4" fmla="*/ 494985 w 494985"/>
                <a:gd name="connsiteY4" fmla="*/ 1006985 h 1126922"/>
                <a:gd name="connsiteX5" fmla="*/ 466484 w 494985"/>
                <a:gd name="connsiteY5" fmla="*/ 1035486 h 1126922"/>
                <a:gd name="connsiteX6" fmla="*/ 364775 w 494985"/>
                <a:gd name="connsiteY6" fmla="*/ 1062739 h 1126922"/>
                <a:gd name="connsiteX7" fmla="*/ 326675 w 494985"/>
                <a:gd name="connsiteY7" fmla="*/ 1119889 h 1126922"/>
                <a:gd name="connsiteX8" fmla="*/ 212375 w 494985"/>
                <a:gd name="connsiteY8" fmla="*/ 1124651 h 1126922"/>
                <a:gd name="connsiteX9" fmla="*/ 150463 w 494985"/>
                <a:gd name="connsiteY9" fmla="*/ 1053215 h 1126922"/>
                <a:gd name="connsiteX10" fmla="*/ 28501 w 494985"/>
                <a:gd name="connsiteY10" fmla="*/ 1035486 h 1126922"/>
                <a:gd name="connsiteX11" fmla="*/ 0 w 494985"/>
                <a:gd name="connsiteY11" fmla="*/ 1006985 h 1126922"/>
                <a:gd name="connsiteX12" fmla="*/ 0 w 494985"/>
                <a:gd name="connsiteY12" fmla="*/ 28501 h 1126922"/>
                <a:gd name="connsiteX0" fmla="*/ 0 w 494985"/>
                <a:gd name="connsiteY0" fmla="*/ 28501 h 1119930"/>
                <a:gd name="connsiteX1" fmla="*/ 28501 w 494985"/>
                <a:gd name="connsiteY1" fmla="*/ 0 h 1119930"/>
                <a:gd name="connsiteX2" fmla="*/ 466484 w 494985"/>
                <a:gd name="connsiteY2" fmla="*/ 0 h 1119930"/>
                <a:gd name="connsiteX3" fmla="*/ 494985 w 494985"/>
                <a:gd name="connsiteY3" fmla="*/ 28501 h 1119930"/>
                <a:gd name="connsiteX4" fmla="*/ 494985 w 494985"/>
                <a:gd name="connsiteY4" fmla="*/ 1006985 h 1119930"/>
                <a:gd name="connsiteX5" fmla="*/ 466484 w 494985"/>
                <a:gd name="connsiteY5" fmla="*/ 1035486 h 1119930"/>
                <a:gd name="connsiteX6" fmla="*/ 364775 w 494985"/>
                <a:gd name="connsiteY6" fmla="*/ 1062739 h 1119930"/>
                <a:gd name="connsiteX7" fmla="*/ 326675 w 494985"/>
                <a:gd name="connsiteY7" fmla="*/ 1119889 h 1119930"/>
                <a:gd name="connsiteX8" fmla="*/ 150463 w 494985"/>
                <a:gd name="connsiteY8" fmla="*/ 1053215 h 1119930"/>
                <a:gd name="connsiteX9" fmla="*/ 28501 w 494985"/>
                <a:gd name="connsiteY9" fmla="*/ 1035486 h 1119930"/>
                <a:gd name="connsiteX10" fmla="*/ 0 w 494985"/>
                <a:gd name="connsiteY10" fmla="*/ 1006985 h 1119930"/>
                <a:gd name="connsiteX11" fmla="*/ 0 w 494985"/>
                <a:gd name="connsiteY11" fmla="*/ 28501 h 1119930"/>
                <a:gd name="connsiteX0" fmla="*/ 0 w 494985"/>
                <a:gd name="connsiteY0" fmla="*/ 28501 h 1120193"/>
                <a:gd name="connsiteX1" fmla="*/ 28501 w 494985"/>
                <a:gd name="connsiteY1" fmla="*/ 0 h 1120193"/>
                <a:gd name="connsiteX2" fmla="*/ 466484 w 494985"/>
                <a:gd name="connsiteY2" fmla="*/ 0 h 1120193"/>
                <a:gd name="connsiteX3" fmla="*/ 494985 w 494985"/>
                <a:gd name="connsiteY3" fmla="*/ 28501 h 1120193"/>
                <a:gd name="connsiteX4" fmla="*/ 494985 w 494985"/>
                <a:gd name="connsiteY4" fmla="*/ 1006985 h 1120193"/>
                <a:gd name="connsiteX5" fmla="*/ 466484 w 494985"/>
                <a:gd name="connsiteY5" fmla="*/ 1035486 h 1120193"/>
                <a:gd name="connsiteX6" fmla="*/ 364775 w 494985"/>
                <a:gd name="connsiteY6" fmla="*/ 1062739 h 1120193"/>
                <a:gd name="connsiteX7" fmla="*/ 326675 w 494985"/>
                <a:gd name="connsiteY7" fmla="*/ 1119889 h 1120193"/>
                <a:gd name="connsiteX8" fmla="*/ 28501 w 494985"/>
                <a:gd name="connsiteY8" fmla="*/ 1035486 h 1120193"/>
                <a:gd name="connsiteX9" fmla="*/ 0 w 494985"/>
                <a:gd name="connsiteY9" fmla="*/ 1006985 h 1120193"/>
                <a:gd name="connsiteX10" fmla="*/ 0 w 494985"/>
                <a:gd name="connsiteY10" fmla="*/ 28501 h 1120193"/>
                <a:gd name="connsiteX0" fmla="*/ 0 w 494985"/>
                <a:gd name="connsiteY0" fmla="*/ 28501 h 1062739"/>
                <a:gd name="connsiteX1" fmla="*/ 28501 w 494985"/>
                <a:gd name="connsiteY1" fmla="*/ 0 h 1062739"/>
                <a:gd name="connsiteX2" fmla="*/ 466484 w 494985"/>
                <a:gd name="connsiteY2" fmla="*/ 0 h 1062739"/>
                <a:gd name="connsiteX3" fmla="*/ 494985 w 494985"/>
                <a:gd name="connsiteY3" fmla="*/ 28501 h 1062739"/>
                <a:gd name="connsiteX4" fmla="*/ 494985 w 494985"/>
                <a:gd name="connsiteY4" fmla="*/ 1006985 h 1062739"/>
                <a:gd name="connsiteX5" fmla="*/ 466484 w 494985"/>
                <a:gd name="connsiteY5" fmla="*/ 1035486 h 1062739"/>
                <a:gd name="connsiteX6" fmla="*/ 364775 w 494985"/>
                <a:gd name="connsiteY6" fmla="*/ 1062739 h 1062739"/>
                <a:gd name="connsiteX7" fmla="*/ 28501 w 494985"/>
                <a:gd name="connsiteY7" fmla="*/ 1035486 h 1062739"/>
                <a:gd name="connsiteX8" fmla="*/ 0 w 494985"/>
                <a:gd name="connsiteY8" fmla="*/ 1006985 h 1062739"/>
                <a:gd name="connsiteX9" fmla="*/ 0 w 494985"/>
                <a:gd name="connsiteY9" fmla="*/ 28501 h 1062739"/>
                <a:gd name="connsiteX0" fmla="*/ 0 w 494985"/>
                <a:gd name="connsiteY0" fmla="*/ 28501 h 1035486"/>
                <a:gd name="connsiteX1" fmla="*/ 28501 w 494985"/>
                <a:gd name="connsiteY1" fmla="*/ 0 h 1035486"/>
                <a:gd name="connsiteX2" fmla="*/ 466484 w 494985"/>
                <a:gd name="connsiteY2" fmla="*/ 0 h 1035486"/>
                <a:gd name="connsiteX3" fmla="*/ 494985 w 494985"/>
                <a:gd name="connsiteY3" fmla="*/ 28501 h 1035486"/>
                <a:gd name="connsiteX4" fmla="*/ 494985 w 494985"/>
                <a:gd name="connsiteY4" fmla="*/ 1006985 h 1035486"/>
                <a:gd name="connsiteX5" fmla="*/ 466484 w 494985"/>
                <a:gd name="connsiteY5" fmla="*/ 1035486 h 1035486"/>
                <a:gd name="connsiteX6" fmla="*/ 28501 w 494985"/>
                <a:gd name="connsiteY6" fmla="*/ 1035486 h 1035486"/>
                <a:gd name="connsiteX7" fmla="*/ 0 w 494985"/>
                <a:gd name="connsiteY7" fmla="*/ 1006985 h 1035486"/>
                <a:gd name="connsiteX8" fmla="*/ 0 w 494985"/>
                <a:gd name="connsiteY8" fmla="*/ 28501 h 1035486"/>
                <a:gd name="connsiteX0" fmla="*/ 0 w 494985"/>
                <a:gd name="connsiteY0" fmla="*/ 28501 h 1038340"/>
                <a:gd name="connsiteX1" fmla="*/ 28501 w 494985"/>
                <a:gd name="connsiteY1" fmla="*/ 0 h 1038340"/>
                <a:gd name="connsiteX2" fmla="*/ 466484 w 494985"/>
                <a:gd name="connsiteY2" fmla="*/ 0 h 1038340"/>
                <a:gd name="connsiteX3" fmla="*/ 494985 w 494985"/>
                <a:gd name="connsiteY3" fmla="*/ 28501 h 1038340"/>
                <a:gd name="connsiteX4" fmla="*/ 494985 w 494985"/>
                <a:gd name="connsiteY4" fmla="*/ 1006985 h 1038340"/>
                <a:gd name="connsiteX5" fmla="*/ 466484 w 494985"/>
                <a:gd name="connsiteY5" fmla="*/ 1035486 h 1038340"/>
                <a:gd name="connsiteX6" fmla="*/ 153637 w 494985"/>
                <a:gd name="connsiteY6" fmla="*/ 1037339 h 1038340"/>
                <a:gd name="connsiteX7" fmla="*/ 28501 w 494985"/>
                <a:gd name="connsiteY7" fmla="*/ 1035486 h 1038340"/>
                <a:gd name="connsiteX8" fmla="*/ 0 w 494985"/>
                <a:gd name="connsiteY8" fmla="*/ 1006985 h 1038340"/>
                <a:gd name="connsiteX9" fmla="*/ 0 w 494985"/>
                <a:gd name="connsiteY9" fmla="*/ 28501 h 1038340"/>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274287 w 494985"/>
                <a:gd name="connsiteY6" fmla="*/ 1037339 h 1038241"/>
                <a:gd name="connsiteX7" fmla="*/ 153637 w 494985"/>
                <a:gd name="connsiteY7" fmla="*/ 1037339 h 1038241"/>
                <a:gd name="connsiteX8" fmla="*/ 28501 w 494985"/>
                <a:gd name="connsiteY8" fmla="*/ 1035486 h 1038241"/>
                <a:gd name="connsiteX9" fmla="*/ 0 w 494985"/>
                <a:gd name="connsiteY9" fmla="*/ 1006985 h 1038241"/>
                <a:gd name="connsiteX10" fmla="*/ 0 w 494985"/>
                <a:gd name="connsiteY10" fmla="*/ 28501 h 1038241"/>
                <a:gd name="connsiteX0" fmla="*/ 0 w 494985"/>
                <a:gd name="connsiteY0" fmla="*/ 28501 h 1038241"/>
                <a:gd name="connsiteX1" fmla="*/ 28501 w 494985"/>
                <a:gd name="connsiteY1" fmla="*/ 0 h 1038241"/>
                <a:gd name="connsiteX2" fmla="*/ 466484 w 494985"/>
                <a:gd name="connsiteY2" fmla="*/ 0 h 1038241"/>
                <a:gd name="connsiteX3" fmla="*/ 494985 w 494985"/>
                <a:gd name="connsiteY3" fmla="*/ 28501 h 1038241"/>
                <a:gd name="connsiteX4" fmla="*/ 494985 w 494985"/>
                <a:gd name="connsiteY4" fmla="*/ 1006985 h 1038241"/>
                <a:gd name="connsiteX5" fmla="*/ 466484 w 494985"/>
                <a:gd name="connsiteY5" fmla="*/ 1035486 h 1038241"/>
                <a:gd name="connsiteX6" fmla="*/ 369537 w 494985"/>
                <a:gd name="connsiteY6" fmla="*/ 1030990 h 1038241"/>
                <a:gd name="connsiteX7" fmla="*/ 274287 w 494985"/>
                <a:gd name="connsiteY7" fmla="*/ 1037339 h 1038241"/>
                <a:gd name="connsiteX8" fmla="*/ 153637 w 494985"/>
                <a:gd name="connsiteY8" fmla="*/ 1037339 h 1038241"/>
                <a:gd name="connsiteX9" fmla="*/ 28501 w 494985"/>
                <a:gd name="connsiteY9" fmla="*/ 1035486 h 1038241"/>
                <a:gd name="connsiteX10" fmla="*/ 0 w 494985"/>
                <a:gd name="connsiteY10" fmla="*/ 1006985 h 1038241"/>
                <a:gd name="connsiteX11" fmla="*/ 0 w 494985"/>
                <a:gd name="connsiteY11" fmla="*/ 28501 h 1038241"/>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0373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7189"/>
                <a:gd name="connsiteX1" fmla="*/ 28501 w 494985"/>
                <a:gd name="connsiteY1" fmla="*/ 0 h 1107189"/>
                <a:gd name="connsiteX2" fmla="*/ 466484 w 494985"/>
                <a:gd name="connsiteY2" fmla="*/ 0 h 1107189"/>
                <a:gd name="connsiteX3" fmla="*/ 494985 w 494985"/>
                <a:gd name="connsiteY3" fmla="*/ 28501 h 1107189"/>
                <a:gd name="connsiteX4" fmla="*/ 494985 w 494985"/>
                <a:gd name="connsiteY4" fmla="*/ 1006985 h 1107189"/>
                <a:gd name="connsiteX5" fmla="*/ 466484 w 494985"/>
                <a:gd name="connsiteY5" fmla="*/ 1035486 h 1107189"/>
                <a:gd name="connsiteX6" fmla="*/ 369537 w 494985"/>
                <a:gd name="connsiteY6" fmla="*/ 1030990 h 1107189"/>
                <a:gd name="connsiteX7" fmla="*/ 274287 w 494985"/>
                <a:gd name="connsiteY7" fmla="*/ 1100839 h 1107189"/>
                <a:gd name="connsiteX8" fmla="*/ 159987 w 494985"/>
                <a:gd name="connsiteY8" fmla="*/ 1107189 h 1107189"/>
                <a:gd name="connsiteX9" fmla="*/ 28501 w 494985"/>
                <a:gd name="connsiteY9" fmla="*/ 1035486 h 1107189"/>
                <a:gd name="connsiteX10" fmla="*/ 0 w 494985"/>
                <a:gd name="connsiteY10" fmla="*/ 1006985 h 1107189"/>
                <a:gd name="connsiteX11" fmla="*/ 0 w 494985"/>
                <a:gd name="connsiteY11" fmla="*/ 28501 h 110718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7605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50461 w 494985"/>
                <a:gd name="connsiteY8" fmla="*/ 1040514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2742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9537 w 494985"/>
                <a:gd name="connsiteY6" fmla="*/ 1030990 h 1100839"/>
                <a:gd name="connsiteX7" fmla="*/ 198087 w 494985"/>
                <a:gd name="connsiteY7" fmla="*/ 1100839 h 1100839"/>
                <a:gd name="connsiteX8" fmla="*/ 148080 w 494985"/>
                <a:gd name="connsiteY8" fmla="*/ 1033370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57"/>
                <a:gd name="connsiteX1" fmla="*/ 28501 w 494985"/>
                <a:gd name="connsiteY1" fmla="*/ 0 h 1100857"/>
                <a:gd name="connsiteX2" fmla="*/ 466484 w 494985"/>
                <a:gd name="connsiteY2" fmla="*/ 0 h 1100857"/>
                <a:gd name="connsiteX3" fmla="*/ 494985 w 494985"/>
                <a:gd name="connsiteY3" fmla="*/ 28501 h 1100857"/>
                <a:gd name="connsiteX4" fmla="*/ 494985 w 494985"/>
                <a:gd name="connsiteY4" fmla="*/ 1006985 h 1100857"/>
                <a:gd name="connsiteX5" fmla="*/ 466484 w 494985"/>
                <a:gd name="connsiteY5" fmla="*/ 1035486 h 1100857"/>
                <a:gd name="connsiteX6" fmla="*/ 369537 w 494985"/>
                <a:gd name="connsiteY6" fmla="*/ 1030990 h 1100857"/>
                <a:gd name="connsiteX7" fmla="*/ 198087 w 494985"/>
                <a:gd name="connsiteY7" fmla="*/ 1100839 h 1100857"/>
                <a:gd name="connsiteX8" fmla="*/ 148080 w 494985"/>
                <a:gd name="connsiteY8" fmla="*/ 1033370 h 1100857"/>
                <a:gd name="connsiteX9" fmla="*/ 28501 w 494985"/>
                <a:gd name="connsiteY9" fmla="*/ 1035486 h 1100857"/>
                <a:gd name="connsiteX10" fmla="*/ 0 w 494985"/>
                <a:gd name="connsiteY10" fmla="*/ 1006985 h 1100857"/>
                <a:gd name="connsiteX11" fmla="*/ 0 w 494985"/>
                <a:gd name="connsiteY11" fmla="*/ 28501 h 1100857"/>
                <a:gd name="connsiteX0" fmla="*/ 0 w 494985"/>
                <a:gd name="connsiteY0" fmla="*/ 28501 h 1101187"/>
                <a:gd name="connsiteX1" fmla="*/ 28501 w 494985"/>
                <a:gd name="connsiteY1" fmla="*/ 0 h 1101187"/>
                <a:gd name="connsiteX2" fmla="*/ 466484 w 494985"/>
                <a:gd name="connsiteY2" fmla="*/ 0 h 1101187"/>
                <a:gd name="connsiteX3" fmla="*/ 494985 w 494985"/>
                <a:gd name="connsiteY3" fmla="*/ 28501 h 1101187"/>
                <a:gd name="connsiteX4" fmla="*/ 494985 w 494985"/>
                <a:gd name="connsiteY4" fmla="*/ 1006985 h 1101187"/>
                <a:gd name="connsiteX5" fmla="*/ 466484 w 494985"/>
                <a:gd name="connsiteY5" fmla="*/ 1035486 h 1101187"/>
                <a:gd name="connsiteX6" fmla="*/ 369537 w 494985"/>
                <a:gd name="connsiteY6" fmla="*/ 1030990 h 1101187"/>
                <a:gd name="connsiteX7" fmla="*/ 198087 w 494985"/>
                <a:gd name="connsiteY7" fmla="*/ 1100839 h 1101187"/>
                <a:gd name="connsiteX8" fmla="*/ 148080 w 494985"/>
                <a:gd name="connsiteY8" fmla="*/ 1033370 h 1101187"/>
                <a:gd name="connsiteX9" fmla="*/ 28501 w 494985"/>
                <a:gd name="connsiteY9" fmla="*/ 1035486 h 1101187"/>
                <a:gd name="connsiteX10" fmla="*/ 0 w 494985"/>
                <a:gd name="connsiteY10" fmla="*/ 1006985 h 1101187"/>
                <a:gd name="connsiteX11" fmla="*/ 0 w 494985"/>
                <a:gd name="connsiteY11" fmla="*/ 28501 h 1101187"/>
                <a:gd name="connsiteX0" fmla="*/ 0 w 494985"/>
                <a:gd name="connsiteY0" fmla="*/ 28501 h 1101096"/>
                <a:gd name="connsiteX1" fmla="*/ 28501 w 494985"/>
                <a:gd name="connsiteY1" fmla="*/ 0 h 1101096"/>
                <a:gd name="connsiteX2" fmla="*/ 466484 w 494985"/>
                <a:gd name="connsiteY2" fmla="*/ 0 h 1101096"/>
                <a:gd name="connsiteX3" fmla="*/ 494985 w 494985"/>
                <a:gd name="connsiteY3" fmla="*/ 28501 h 1101096"/>
                <a:gd name="connsiteX4" fmla="*/ 494985 w 494985"/>
                <a:gd name="connsiteY4" fmla="*/ 1006985 h 1101096"/>
                <a:gd name="connsiteX5" fmla="*/ 466484 w 494985"/>
                <a:gd name="connsiteY5" fmla="*/ 1035486 h 1101096"/>
                <a:gd name="connsiteX6" fmla="*/ 369537 w 494985"/>
                <a:gd name="connsiteY6" fmla="*/ 1030990 h 1101096"/>
                <a:gd name="connsiteX7" fmla="*/ 290956 w 494985"/>
                <a:gd name="connsiteY7" fmla="*/ 1055596 h 1101096"/>
                <a:gd name="connsiteX8" fmla="*/ 198087 w 494985"/>
                <a:gd name="connsiteY8" fmla="*/ 1100839 h 1101096"/>
                <a:gd name="connsiteX9" fmla="*/ 148080 w 494985"/>
                <a:gd name="connsiteY9" fmla="*/ 1033370 h 1101096"/>
                <a:gd name="connsiteX10" fmla="*/ 28501 w 494985"/>
                <a:gd name="connsiteY10" fmla="*/ 1035486 h 1101096"/>
                <a:gd name="connsiteX11" fmla="*/ 0 w 494985"/>
                <a:gd name="connsiteY11" fmla="*/ 1006985 h 1101096"/>
                <a:gd name="connsiteX12" fmla="*/ 0 w 494985"/>
                <a:gd name="connsiteY12" fmla="*/ 28501 h 1101096"/>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5462"/>
                <a:gd name="connsiteX1" fmla="*/ 28501 w 494985"/>
                <a:gd name="connsiteY1" fmla="*/ 0 h 1105462"/>
                <a:gd name="connsiteX2" fmla="*/ 466484 w 494985"/>
                <a:gd name="connsiteY2" fmla="*/ 0 h 1105462"/>
                <a:gd name="connsiteX3" fmla="*/ 494985 w 494985"/>
                <a:gd name="connsiteY3" fmla="*/ 28501 h 1105462"/>
                <a:gd name="connsiteX4" fmla="*/ 494985 w 494985"/>
                <a:gd name="connsiteY4" fmla="*/ 1006985 h 1105462"/>
                <a:gd name="connsiteX5" fmla="*/ 466484 w 494985"/>
                <a:gd name="connsiteY5" fmla="*/ 1035486 h 1105462"/>
                <a:gd name="connsiteX6" fmla="*/ 369537 w 494985"/>
                <a:gd name="connsiteY6" fmla="*/ 1030990 h 1105462"/>
                <a:gd name="connsiteX7" fmla="*/ 305243 w 494985"/>
                <a:gd name="connsiteY7" fmla="*/ 1098458 h 1105462"/>
                <a:gd name="connsiteX8" fmla="*/ 198087 w 494985"/>
                <a:gd name="connsiteY8" fmla="*/ 1100839 h 1105462"/>
                <a:gd name="connsiteX9" fmla="*/ 148080 w 494985"/>
                <a:gd name="connsiteY9" fmla="*/ 1033370 h 1105462"/>
                <a:gd name="connsiteX10" fmla="*/ 28501 w 494985"/>
                <a:gd name="connsiteY10" fmla="*/ 1035486 h 1105462"/>
                <a:gd name="connsiteX11" fmla="*/ 0 w 494985"/>
                <a:gd name="connsiteY11" fmla="*/ 1006985 h 1105462"/>
                <a:gd name="connsiteX12" fmla="*/ 0 w 494985"/>
                <a:gd name="connsiteY12" fmla="*/ 28501 h 110546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48080 w 494985"/>
                <a:gd name="connsiteY9" fmla="*/ 1033370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69537 w 494985"/>
                <a:gd name="connsiteY6" fmla="*/ 1030990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2002"/>
                <a:gd name="connsiteX1" fmla="*/ 28501 w 494985"/>
                <a:gd name="connsiteY1" fmla="*/ 0 h 1102002"/>
                <a:gd name="connsiteX2" fmla="*/ 466484 w 494985"/>
                <a:gd name="connsiteY2" fmla="*/ 0 h 1102002"/>
                <a:gd name="connsiteX3" fmla="*/ 494985 w 494985"/>
                <a:gd name="connsiteY3" fmla="*/ 28501 h 1102002"/>
                <a:gd name="connsiteX4" fmla="*/ 494985 w 494985"/>
                <a:gd name="connsiteY4" fmla="*/ 1006985 h 1102002"/>
                <a:gd name="connsiteX5" fmla="*/ 466484 w 494985"/>
                <a:gd name="connsiteY5" fmla="*/ 1035486 h 1102002"/>
                <a:gd name="connsiteX6" fmla="*/ 371918 w 494985"/>
                <a:gd name="connsiteY6" fmla="*/ 1041471 h 1102002"/>
                <a:gd name="connsiteX7" fmla="*/ 305243 w 494985"/>
                <a:gd name="connsiteY7" fmla="*/ 1098458 h 1102002"/>
                <a:gd name="connsiteX8" fmla="*/ 198087 w 494985"/>
                <a:gd name="connsiteY8" fmla="*/ 1100839 h 1102002"/>
                <a:gd name="connsiteX9" fmla="*/ 150462 w 494985"/>
                <a:gd name="connsiteY9" fmla="*/ 1038611 h 1102002"/>
                <a:gd name="connsiteX10" fmla="*/ 28501 w 494985"/>
                <a:gd name="connsiteY10" fmla="*/ 1035486 h 1102002"/>
                <a:gd name="connsiteX11" fmla="*/ 0 w 494985"/>
                <a:gd name="connsiteY11" fmla="*/ 1006985 h 1102002"/>
                <a:gd name="connsiteX12" fmla="*/ 0 w 494985"/>
                <a:gd name="connsiteY12" fmla="*/ 28501 h 1102002"/>
                <a:gd name="connsiteX0" fmla="*/ 0 w 494985"/>
                <a:gd name="connsiteY0" fmla="*/ 28501 h 1106321"/>
                <a:gd name="connsiteX1" fmla="*/ 28501 w 494985"/>
                <a:gd name="connsiteY1" fmla="*/ 0 h 1106321"/>
                <a:gd name="connsiteX2" fmla="*/ 466484 w 494985"/>
                <a:gd name="connsiteY2" fmla="*/ 0 h 1106321"/>
                <a:gd name="connsiteX3" fmla="*/ 494985 w 494985"/>
                <a:gd name="connsiteY3" fmla="*/ 28501 h 1106321"/>
                <a:gd name="connsiteX4" fmla="*/ 494985 w 494985"/>
                <a:gd name="connsiteY4" fmla="*/ 1006985 h 1106321"/>
                <a:gd name="connsiteX5" fmla="*/ 466484 w 494985"/>
                <a:gd name="connsiteY5" fmla="*/ 1035486 h 1106321"/>
                <a:gd name="connsiteX6" fmla="*/ 371918 w 494985"/>
                <a:gd name="connsiteY6" fmla="*/ 1041471 h 1106321"/>
                <a:gd name="connsiteX7" fmla="*/ 305243 w 494985"/>
                <a:gd name="connsiteY7" fmla="*/ 1106317 h 1106321"/>
                <a:gd name="connsiteX8" fmla="*/ 198087 w 494985"/>
                <a:gd name="connsiteY8" fmla="*/ 1100839 h 1106321"/>
                <a:gd name="connsiteX9" fmla="*/ 150462 w 494985"/>
                <a:gd name="connsiteY9" fmla="*/ 1038611 h 1106321"/>
                <a:gd name="connsiteX10" fmla="*/ 28501 w 494985"/>
                <a:gd name="connsiteY10" fmla="*/ 1035486 h 1106321"/>
                <a:gd name="connsiteX11" fmla="*/ 0 w 494985"/>
                <a:gd name="connsiteY11" fmla="*/ 1006985 h 1106321"/>
                <a:gd name="connsiteX12" fmla="*/ 0 w 494985"/>
                <a:gd name="connsiteY12" fmla="*/ 28501 h 1106321"/>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0462 w 494985"/>
                <a:gd name="connsiteY9" fmla="*/ 103861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79037 w 494985"/>
                <a:gd name="connsiteY9" fmla="*/ 10359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83799 w 494985"/>
                <a:gd name="connsiteY9" fmla="*/ 1046471 h 1102488"/>
                <a:gd name="connsiteX10" fmla="*/ 153278 w 494985"/>
                <a:gd name="connsiteY10" fmla="*/ 1037850 h 1102488"/>
                <a:gd name="connsiteX11" fmla="*/ 28501 w 494985"/>
                <a:gd name="connsiteY11" fmla="*/ 1035486 h 1102488"/>
                <a:gd name="connsiteX12" fmla="*/ 0 w 494985"/>
                <a:gd name="connsiteY12" fmla="*/ 1006985 h 1102488"/>
                <a:gd name="connsiteX13" fmla="*/ 0 w 494985"/>
                <a:gd name="connsiteY13"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3278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29465 w 494985"/>
                <a:gd name="connsiteY9" fmla="*/ 1043091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3654"/>
                <a:gd name="connsiteX1" fmla="*/ 28501 w 494985"/>
                <a:gd name="connsiteY1" fmla="*/ 0 h 1103654"/>
                <a:gd name="connsiteX2" fmla="*/ 466484 w 494985"/>
                <a:gd name="connsiteY2" fmla="*/ 0 h 1103654"/>
                <a:gd name="connsiteX3" fmla="*/ 494985 w 494985"/>
                <a:gd name="connsiteY3" fmla="*/ 28501 h 1103654"/>
                <a:gd name="connsiteX4" fmla="*/ 494985 w 494985"/>
                <a:gd name="connsiteY4" fmla="*/ 1006985 h 1103654"/>
                <a:gd name="connsiteX5" fmla="*/ 466484 w 494985"/>
                <a:gd name="connsiteY5" fmla="*/ 1035486 h 1103654"/>
                <a:gd name="connsiteX6" fmla="*/ 371918 w 494985"/>
                <a:gd name="connsiteY6" fmla="*/ 1041471 h 1103654"/>
                <a:gd name="connsiteX7" fmla="*/ 307624 w 494985"/>
                <a:gd name="connsiteY7" fmla="*/ 1101077 h 1103654"/>
                <a:gd name="connsiteX8" fmla="*/ 198087 w 494985"/>
                <a:gd name="connsiteY8" fmla="*/ 1100839 h 1103654"/>
                <a:gd name="connsiteX9" fmla="*/ 136609 w 494985"/>
                <a:gd name="connsiteY9" fmla="*/ 1037850 h 1103654"/>
                <a:gd name="connsiteX10" fmla="*/ 28501 w 494985"/>
                <a:gd name="connsiteY10" fmla="*/ 1035486 h 1103654"/>
                <a:gd name="connsiteX11" fmla="*/ 0 w 494985"/>
                <a:gd name="connsiteY11" fmla="*/ 1006985 h 1103654"/>
                <a:gd name="connsiteX12" fmla="*/ 0 w 494985"/>
                <a:gd name="connsiteY12" fmla="*/ 28501 h 1103654"/>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36609 w 494985"/>
                <a:gd name="connsiteY9" fmla="*/ 1037850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2488"/>
                <a:gd name="connsiteX1" fmla="*/ 28501 w 494985"/>
                <a:gd name="connsiteY1" fmla="*/ 0 h 1102488"/>
                <a:gd name="connsiteX2" fmla="*/ 466484 w 494985"/>
                <a:gd name="connsiteY2" fmla="*/ 0 h 1102488"/>
                <a:gd name="connsiteX3" fmla="*/ 494985 w 494985"/>
                <a:gd name="connsiteY3" fmla="*/ 28501 h 1102488"/>
                <a:gd name="connsiteX4" fmla="*/ 494985 w 494985"/>
                <a:gd name="connsiteY4" fmla="*/ 1006985 h 1102488"/>
                <a:gd name="connsiteX5" fmla="*/ 466484 w 494985"/>
                <a:gd name="connsiteY5" fmla="*/ 1035486 h 1102488"/>
                <a:gd name="connsiteX6" fmla="*/ 371918 w 494985"/>
                <a:gd name="connsiteY6" fmla="*/ 1041471 h 1102488"/>
                <a:gd name="connsiteX7" fmla="*/ 307624 w 494985"/>
                <a:gd name="connsiteY7" fmla="*/ 1101077 h 1102488"/>
                <a:gd name="connsiteX8" fmla="*/ 198087 w 494985"/>
                <a:gd name="connsiteY8" fmla="*/ 1100839 h 1102488"/>
                <a:gd name="connsiteX9" fmla="*/ 158041 w 494985"/>
                <a:gd name="connsiteY9" fmla="*/ 1035229 h 1102488"/>
                <a:gd name="connsiteX10" fmla="*/ 28501 w 494985"/>
                <a:gd name="connsiteY10" fmla="*/ 1035486 h 1102488"/>
                <a:gd name="connsiteX11" fmla="*/ 0 w 494985"/>
                <a:gd name="connsiteY11" fmla="*/ 1006985 h 1102488"/>
                <a:gd name="connsiteX12" fmla="*/ 0 w 494985"/>
                <a:gd name="connsiteY12" fmla="*/ 28501 h 1102488"/>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1324"/>
                <a:gd name="connsiteX1" fmla="*/ 28501 w 494985"/>
                <a:gd name="connsiteY1" fmla="*/ 0 h 1101324"/>
                <a:gd name="connsiteX2" fmla="*/ 466484 w 494985"/>
                <a:gd name="connsiteY2" fmla="*/ 0 h 1101324"/>
                <a:gd name="connsiteX3" fmla="*/ 494985 w 494985"/>
                <a:gd name="connsiteY3" fmla="*/ 28501 h 1101324"/>
                <a:gd name="connsiteX4" fmla="*/ 494985 w 494985"/>
                <a:gd name="connsiteY4" fmla="*/ 1006985 h 1101324"/>
                <a:gd name="connsiteX5" fmla="*/ 466484 w 494985"/>
                <a:gd name="connsiteY5" fmla="*/ 1035486 h 1101324"/>
                <a:gd name="connsiteX6" fmla="*/ 371918 w 494985"/>
                <a:gd name="connsiteY6" fmla="*/ 1041471 h 1101324"/>
                <a:gd name="connsiteX7" fmla="*/ 307624 w 494985"/>
                <a:gd name="connsiteY7" fmla="*/ 1101077 h 1101324"/>
                <a:gd name="connsiteX8" fmla="*/ 198087 w 494985"/>
                <a:gd name="connsiteY8" fmla="*/ 1100839 h 1101324"/>
                <a:gd name="connsiteX9" fmla="*/ 158041 w 494985"/>
                <a:gd name="connsiteY9" fmla="*/ 1035229 h 1101324"/>
                <a:gd name="connsiteX10" fmla="*/ 28501 w 494985"/>
                <a:gd name="connsiteY10" fmla="*/ 1035486 h 1101324"/>
                <a:gd name="connsiteX11" fmla="*/ 0 w 494985"/>
                <a:gd name="connsiteY11" fmla="*/ 1006985 h 1101324"/>
                <a:gd name="connsiteX12" fmla="*/ 0 w 494985"/>
                <a:gd name="connsiteY12" fmla="*/ 28501 h 1101324"/>
                <a:gd name="connsiteX0" fmla="*/ 0 w 494985"/>
                <a:gd name="connsiteY0" fmla="*/ 28501 h 1106240"/>
                <a:gd name="connsiteX1" fmla="*/ 28501 w 494985"/>
                <a:gd name="connsiteY1" fmla="*/ 0 h 1106240"/>
                <a:gd name="connsiteX2" fmla="*/ 466484 w 494985"/>
                <a:gd name="connsiteY2" fmla="*/ 0 h 1106240"/>
                <a:gd name="connsiteX3" fmla="*/ 494985 w 494985"/>
                <a:gd name="connsiteY3" fmla="*/ 28501 h 1106240"/>
                <a:gd name="connsiteX4" fmla="*/ 494985 w 494985"/>
                <a:gd name="connsiteY4" fmla="*/ 1006985 h 1106240"/>
                <a:gd name="connsiteX5" fmla="*/ 466484 w 494985"/>
                <a:gd name="connsiteY5" fmla="*/ 1035486 h 1106240"/>
                <a:gd name="connsiteX6" fmla="*/ 369537 w 494985"/>
                <a:gd name="connsiteY6" fmla="*/ 1033611 h 1106240"/>
                <a:gd name="connsiteX7" fmla="*/ 307624 w 494985"/>
                <a:gd name="connsiteY7" fmla="*/ 1101077 h 1106240"/>
                <a:gd name="connsiteX8" fmla="*/ 198087 w 494985"/>
                <a:gd name="connsiteY8" fmla="*/ 1100839 h 1106240"/>
                <a:gd name="connsiteX9" fmla="*/ 158041 w 494985"/>
                <a:gd name="connsiteY9" fmla="*/ 1035229 h 1106240"/>
                <a:gd name="connsiteX10" fmla="*/ 28501 w 494985"/>
                <a:gd name="connsiteY10" fmla="*/ 1035486 h 1106240"/>
                <a:gd name="connsiteX11" fmla="*/ 0 w 494985"/>
                <a:gd name="connsiteY11" fmla="*/ 1006985 h 1106240"/>
                <a:gd name="connsiteX12" fmla="*/ 0 w 494985"/>
                <a:gd name="connsiteY12" fmla="*/ 28501 h 1106240"/>
                <a:gd name="connsiteX0" fmla="*/ 0 w 494985"/>
                <a:gd name="connsiteY0" fmla="*/ 28501 h 1105659"/>
                <a:gd name="connsiteX1" fmla="*/ 28501 w 494985"/>
                <a:gd name="connsiteY1" fmla="*/ 0 h 1105659"/>
                <a:gd name="connsiteX2" fmla="*/ 466484 w 494985"/>
                <a:gd name="connsiteY2" fmla="*/ 0 h 1105659"/>
                <a:gd name="connsiteX3" fmla="*/ 494985 w 494985"/>
                <a:gd name="connsiteY3" fmla="*/ 28501 h 1105659"/>
                <a:gd name="connsiteX4" fmla="*/ 494985 w 494985"/>
                <a:gd name="connsiteY4" fmla="*/ 1006985 h 1105659"/>
                <a:gd name="connsiteX5" fmla="*/ 466484 w 494985"/>
                <a:gd name="connsiteY5" fmla="*/ 1035486 h 1105659"/>
                <a:gd name="connsiteX6" fmla="*/ 371918 w 494985"/>
                <a:gd name="connsiteY6" fmla="*/ 1041470 h 1105659"/>
                <a:gd name="connsiteX7" fmla="*/ 307624 w 494985"/>
                <a:gd name="connsiteY7" fmla="*/ 1101077 h 1105659"/>
                <a:gd name="connsiteX8" fmla="*/ 198087 w 494985"/>
                <a:gd name="connsiteY8" fmla="*/ 1100839 h 1105659"/>
                <a:gd name="connsiteX9" fmla="*/ 158041 w 494985"/>
                <a:gd name="connsiteY9" fmla="*/ 1035229 h 1105659"/>
                <a:gd name="connsiteX10" fmla="*/ 28501 w 494985"/>
                <a:gd name="connsiteY10" fmla="*/ 1035486 h 1105659"/>
                <a:gd name="connsiteX11" fmla="*/ 0 w 494985"/>
                <a:gd name="connsiteY11" fmla="*/ 1006985 h 1105659"/>
                <a:gd name="connsiteX12" fmla="*/ 0 w 494985"/>
                <a:gd name="connsiteY12" fmla="*/ 28501 h 1105659"/>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6046"/>
                <a:gd name="connsiteX1" fmla="*/ 28501 w 494985"/>
                <a:gd name="connsiteY1" fmla="*/ 0 h 1106046"/>
                <a:gd name="connsiteX2" fmla="*/ 466484 w 494985"/>
                <a:gd name="connsiteY2" fmla="*/ 0 h 1106046"/>
                <a:gd name="connsiteX3" fmla="*/ 494985 w 494985"/>
                <a:gd name="connsiteY3" fmla="*/ 28501 h 1106046"/>
                <a:gd name="connsiteX4" fmla="*/ 494985 w 494985"/>
                <a:gd name="connsiteY4" fmla="*/ 1006985 h 1106046"/>
                <a:gd name="connsiteX5" fmla="*/ 466484 w 494985"/>
                <a:gd name="connsiteY5" fmla="*/ 1035486 h 1106046"/>
                <a:gd name="connsiteX6" fmla="*/ 364775 w 494985"/>
                <a:gd name="connsiteY6" fmla="*/ 1036230 h 1106046"/>
                <a:gd name="connsiteX7" fmla="*/ 307624 w 494985"/>
                <a:gd name="connsiteY7" fmla="*/ 1101077 h 1106046"/>
                <a:gd name="connsiteX8" fmla="*/ 198087 w 494985"/>
                <a:gd name="connsiteY8" fmla="*/ 1100839 h 1106046"/>
                <a:gd name="connsiteX9" fmla="*/ 158041 w 494985"/>
                <a:gd name="connsiteY9" fmla="*/ 1035229 h 1106046"/>
                <a:gd name="connsiteX10" fmla="*/ 28501 w 494985"/>
                <a:gd name="connsiteY10" fmla="*/ 1035486 h 1106046"/>
                <a:gd name="connsiteX11" fmla="*/ 0 w 494985"/>
                <a:gd name="connsiteY11" fmla="*/ 1006985 h 1106046"/>
                <a:gd name="connsiteX12" fmla="*/ 0 w 494985"/>
                <a:gd name="connsiteY12" fmla="*/ 28501 h 1106046"/>
                <a:gd name="connsiteX0" fmla="*/ 0 w 494985"/>
                <a:gd name="connsiteY0" fmla="*/ 28501 h 1104264"/>
                <a:gd name="connsiteX1" fmla="*/ 28501 w 494985"/>
                <a:gd name="connsiteY1" fmla="*/ 0 h 1104264"/>
                <a:gd name="connsiteX2" fmla="*/ 466484 w 494985"/>
                <a:gd name="connsiteY2" fmla="*/ 0 h 1104264"/>
                <a:gd name="connsiteX3" fmla="*/ 494985 w 494985"/>
                <a:gd name="connsiteY3" fmla="*/ 28501 h 1104264"/>
                <a:gd name="connsiteX4" fmla="*/ 494985 w 494985"/>
                <a:gd name="connsiteY4" fmla="*/ 1006985 h 1104264"/>
                <a:gd name="connsiteX5" fmla="*/ 466484 w 494985"/>
                <a:gd name="connsiteY5" fmla="*/ 1035486 h 1104264"/>
                <a:gd name="connsiteX6" fmla="*/ 364775 w 494985"/>
                <a:gd name="connsiteY6" fmla="*/ 1036230 h 1104264"/>
                <a:gd name="connsiteX7" fmla="*/ 312387 w 494985"/>
                <a:gd name="connsiteY7" fmla="*/ 1098457 h 1104264"/>
                <a:gd name="connsiteX8" fmla="*/ 198087 w 494985"/>
                <a:gd name="connsiteY8" fmla="*/ 1100839 h 1104264"/>
                <a:gd name="connsiteX9" fmla="*/ 158041 w 494985"/>
                <a:gd name="connsiteY9" fmla="*/ 1035229 h 1104264"/>
                <a:gd name="connsiteX10" fmla="*/ 28501 w 494985"/>
                <a:gd name="connsiteY10" fmla="*/ 1035486 h 1104264"/>
                <a:gd name="connsiteX11" fmla="*/ 0 w 494985"/>
                <a:gd name="connsiteY11" fmla="*/ 1006985 h 1104264"/>
                <a:gd name="connsiteX12" fmla="*/ 0 w 494985"/>
                <a:gd name="connsiteY12" fmla="*/ 28501 h 1104264"/>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312387 w 494985"/>
                <a:gd name="connsiteY7" fmla="*/ 1098457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198087 w 494985"/>
                <a:gd name="connsiteY7" fmla="*/ 1100839 h 1100839"/>
                <a:gd name="connsiteX8" fmla="*/ 158041 w 494985"/>
                <a:gd name="connsiteY8" fmla="*/ 1035229 h 1100839"/>
                <a:gd name="connsiteX9" fmla="*/ 28501 w 494985"/>
                <a:gd name="connsiteY9" fmla="*/ 1035486 h 1100839"/>
                <a:gd name="connsiteX10" fmla="*/ 0 w 494985"/>
                <a:gd name="connsiteY10" fmla="*/ 1006985 h 1100839"/>
                <a:gd name="connsiteX11" fmla="*/ 0 w 494985"/>
                <a:gd name="connsiteY11" fmla="*/ 28501 h 1100839"/>
                <a:gd name="connsiteX0" fmla="*/ 0 w 494985"/>
                <a:gd name="connsiteY0" fmla="*/ 28501 h 1100839"/>
                <a:gd name="connsiteX1" fmla="*/ 28501 w 494985"/>
                <a:gd name="connsiteY1" fmla="*/ 0 h 1100839"/>
                <a:gd name="connsiteX2" fmla="*/ 466484 w 494985"/>
                <a:gd name="connsiteY2" fmla="*/ 0 h 1100839"/>
                <a:gd name="connsiteX3" fmla="*/ 494985 w 494985"/>
                <a:gd name="connsiteY3" fmla="*/ 28501 h 1100839"/>
                <a:gd name="connsiteX4" fmla="*/ 494985 w 494985"/>
                <a:gd name="connsiteY4" fmla="*/ 1006985 h 1100839"/>
                <a:gd name="connsiteX5" fmla="*/ 466484 w 494985"/>
                <a:gd name="connsiteY5" fmla="*/ 1035486 h 1100839"/>
                <a:gd name="connsiteX6" fmla="*/ 364775 w 494985"/>
                <a:gd name="connsiteY6" fmla="*/ 1036230 h 1100839"/>
                <a:gd name="connsiteX7" fmla="*/ 289009 w 494985"/>
                <a:gd name="connsiteY7" fmla="*/ 1064051 h 1100839"/>
                <a:gd name="connsiteX8" fmla="*/ 198087 w 494985"/>
                <a:gd name="connsiteY8" fmla="*/ 1100839 h 1100839"/>
                <a:gd name="connsiteX9" fmla="*/ 158041 w 494985"/>
                <a:gd name="connsiteY9" fmla="*/ 1035229 h 1100839"/>
                <a:gd name="connsiteX10" fmla="*/ 28501 w 494985"/>
                <a:gd name="connsiteY10" fmla="*/ 1035486 h 1100839"/>
                <a:gd name="connsiteX11" fmla="*/ 0 w 494985"/>
                <a:gd name="connsiteY11" fmla="*/ 1006985 h 1100839"/>
                <a:gd name="connsiteX12" fmla="*/ 0 w 494985"/>
                <a:gd name="connsiteY12" fmla="*/ 28501 h 1100839"/>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64775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52869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3352"/>
                <a:gd name="connsiteX1" fmla="*/ 28501 w 494985"/>
                <a:gd name="connsiteY1" fmla="*/ 0 h 1103352"/>
                <a:gd name="connsiteX2" fmla="*/ 466484 w 494985"/>
                <a:gd name="connsiteY2" fmla="*/ 0 h 1103352"/>
                <a:gd name="connsiteX3" fmla="*/ 494985 w 494985"/>
                <a:gd name="connsiteY3" fmla="*/ 28501 h 1103352"/>
                <a:gd name="connsiteX4" fmla="*/ 494985 w 494985"/>
                <a:gd name="connsiteY4" fmla="*/ 1006985 h 1103352"/>
                <a:gd name="connsiteX5" fmla="*/ 466484 w 494985"/>
                <a:gd name="connsiteY5" fmla="*/ 1035486 h 1103352"/>
                <a:gd name="connsiteX6" fmla="*/ 340962 w 494985"/>
                <a:gd name="connsiteY6" fmla="*/ 1036230 h 1103352"/>
                <a:gd name="connsiteX7" fmla="*/ 291390 w 494985"/>
                <a:gd name="connsiteY7" fmla="*/ 1103352 h 1103352"/>
                <a:gd name="connsiteX8" fmla="*/ 198087 w 494985"/>
                <a:gd name="connsiteY8" fmla="*/ 1100839 h 1103352"/>
                <a:gd name="connsiteX9" fmla="*/ 158041 w 494985"/>
                <a:gd name="connsiteY9" fmla="*/ 1035229 h 1103352"/>
                <a:gd name="connsiteX10" fmla="*/ 28501 w 494985"/>
                <a:gd name="connsiteY10" fmla="*/ 1035486 h 1103352"/>
                <a:gd name="connsiteX11" fmla="*/ 0 w 494985"/>
                <a:gd name="connsiteY11" fmla="*/ 1006985 h 1103352"/>
                <a:gd name="connsiteX12" fmla="*/ 0 w 494985"/>
                <a:gd name="connsiteY12" fmla="*/ 28501 h 110335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1390 w 494985"/>
                <a:gd name="connsiteY7" fmla="*/ 1103352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13832"/>
                <a:gd name="connsiteX1" fmla="*/ 28501 w 494985"/>
                <a:gd name="connsiteY1" fmla="*/ 0 h 1113832"/>
                <a:gd name="connsiteX2" fmla="*/ 466484 w 494985"/>
                <a:gd name="connsiteY2" fmla="*/ 0 h 1113832"/>
                <a:gd name="connsiteX3" fmla="*/ 494985 w 494985"/>
                <a:gd name="connsiteY3" fmla="*/ 28501 h 1113832"/>
                <a:gd name="connsiteX4" fmla="*/ 494985 w 494985"/>
                <a:gd name="connsiteY4" fmla="*/ 1006985 h 1113832"/>
                <a:gd name="connsiteX5" fmla="*/ 466484 w 494985"/>
                <a:gd name="connsiteY5" fmla="*/ 1035486 h 1113832"/>
                <a:gd name="connsiteX6" fmla="*/ 340962 w 494985"/>
                <a:gd name="connsiteY6" fmla="*/ 1036230 h 1113832"/>
                <a:gd name="connsiteX7" fmla="*/ 293772 w 494985"/>
                <a:gd name="connsiteY7" fmla="*/ 1113832 h 1113832"/>
                <a:gd name="connsiteX8" fmla="*/ 200469 w 494985"/>
                <a:gd name="connsiteY8" fmla="*/ 1108699 h 1113832"/>
                <a:gd name="connsiteX9" fmla="*/ 158041 w 494985"/>
                <a:gd name="connsiteY9" fmla="*/ 1035229 h 1113832"/>
                <a:gd name="connsiteX10" fmla="*/ 28501 w 494985"/>
                <a:gd name="connsiteY10" fmla="*/ 1035486 h 1113832"/>
                <a:gd name="connsiteX11" fmla="*/ 0 w 494985"/>
                <a:gd name="connsiteY11" fmla="*/ 1006985 h 1113832"/>
                <a:gd name="connsiteX12" fmla="*/ 0 w 494985"/>
                <a:gd name="connsiteY12" fmla="*/ 28501 h 1113832"/>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200469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298535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 name="connsiteX0" fmla="*/ 0 w 494985"/>
                <a:gd name="connsiteY0" fmla="*/ 28501 h 1108699"/>
                <a:gd name="connsiteX1" fmla="*/ 28501 w 494985"/>
                <a:gd name="connsiteY1" fmla="*/ 0 h 1108699"/>
                <a:gd name="connsiteX2" fmla="*/ 466484 w 494985"/>
                <a:gd name="connsiteY2" fmla="*/ 0 h 1108699"/>
                <a:gd name="connsiteX3" fmla="*/ 494985 w 494985"/>
                <a:gd name="connsiteY3" fmla="*/ 28501 h 1108699"/>
                <a:gd name="connsiteX4" fmla="*/ 494985 w 494985"/>
                <a:gd name="connsiteY4" fmla="*/ 1006985 h 1108699"/>
                <a:gd name="connsiteX5" fmla="*/ 466484 w 494985"/>
                <a:gd name="connsiteY5" fmla="*/ 1035486 h 1108699"/>
                <a:gd name="connsiteX6" fmla="*/ 340962 w 494985"/>
                <a:gd name="connsiteY6" fmla="*/ 1036230 h 1108699"/>
                <a:gd name="connsiteX7" fmla="*/ 305679 w 494985"/>
                <a:gd name="connsiteY7" fmla="*/ 1108591 h 1108699"/>
                <a:gd name="connsiteX8" fmla="*/ 186182 w 494985"/>
                <a:gd name="connsiteY8" fmla="*/ 1108699 h 1108699"/>
                <a:gd name="connsiteX9" fmla="*/ 158041 w 494985"/>
                <a:gd name="connsiteY9" fmla="*/ 1035229 h 1108699"/>
                <a:gd name="connsiteX10" fmla="*/ 28501 w 494985"/>
                <a:gd name="connsiteY10" fmla="*/ 1035486 h 1108699"/>
                <a:gd name="connsiteX11" fmla="*/ 0 w 494985"/>
                <a:gd name="connsiteY11" fmla="*/ 1006985 h 1108699"/>
                <a:gd name="connsiteX12" fmla="*/ 0 w 494985"/>
                <a:gd name="connsiteY12" fmla="*/ 28501 h 1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985" h="1108699">
                  <a:moveTo>
                    <a:pt x="0" y="28501"/>
                  </a:moveTo>
                  <a:cubicBezTo>
                    <a:pt x="0" y="12760"/>
                    <a:pt x="12760" y="0"/>
                    <a:pt x="28501" y="0"/>
                  </a:cubicBezTo>
                  <a:lnTo>
                    <a:pt x="466484" y="0"/>
                  </a:lnTo>
                  <a:cubicBezTo>
                    <a:pt x="482225" y="0"/>
                    <a:pt x="494985" y="12760"/>
                    <a:pt x="494985" y="28501"/>
                  </a:cubicBezTo>
                  <a:lnTo>
                    <a:pt x="494985" y="1006985"/>
                  </a:lnTo>
                  <a:cubicBezTo>
                    <a:pt x="494985" y="1022726"/>
                    <a:pt x="482225" y="1035486"/>
                    <a:pt x="466484" y="1035486"/>
                  </a:cubicBezTo>
                  <a:lnTo>
                    <a:pt x="340962" y="1036230"/>
                  </a:lnTo>
                  <a:lnTo>
                    <a:pt x="305679" y="1108591"/>
                  </a:lnTo>
                  <a:lnTo>
                    <a:pt x="186182" y="1108699"/>
                  </a:lnTo>
                  <a:lnTo>
                    <a:pt x="158041" y="1035229"/>
                  </a:lnTo>
                  <a:lnTo>
                    <a:pt x="28501" y="1035486"/>
                  </a:lnTo>
                  <a:cubicBezTo>
                    <a:pt x="12760" y="1035486"/>
                    <a:pt x="0" y="1022726"/>
                    <a:pt x="0" y="1006985"/>
                  </a:cubicBezTo>
                  <a:lnTo>
                    <a:pt x="0" y="28501"/>
                  </a:lnTo>
                  <a:close/>
                </a:path>
              </a:pathLst>
            </a:custGeom>
            <a:solidFill>
              <a:schemeClr val="accent2"/>
            </a:solidFill>
            <a:ln w="9525" cmpd="sng">
              <a:noFill/>
            </a:ln>
            <a:effectLst/>
          </p:spPr>
          <p:style>
            <a:lnRef idx="1">
              <a:schemeClr val="accent1"/>
            </a:lnRef>
            <a:fillRef idx="3">
              <a:schemeClr val="accent1"/>
            </a:fillRef>
            <a:effectRef idx="2">
              <a:schemeClr val="accent1"/>
            </a:effectRef>
            <a:fontRef idx="minor">
              <a:schemeClr val="lt1"/>
            </a:fontRef>
          </p:style>
          <p:txBody>
            <a:bodyPr lIns="17928"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078" b="0" i="0" u="none" strike="noStrike" kern="0" cap="none" spc="0" normalizeH="0" baseline="0" noProof="0" dirty="0">
                  <a:ln>
                    <a:noFill/>
                  </a:ln>
                  <a:gradFill>
                    <a:gsLst>
                      <a:gs pos="2917">
                        <a:schemeClr val="bg1"/>
                      </a:gs>
                      <a:gs pos="100000">
                        <a:schemeClr val="bg1"/>
                      </a:gs>
                    </a:gsLst>
                    <a:lin ang="5400000" scaled="0"/>
                  </a:gradFill>
                  <a:effectLst/>
                  <a:uLnTx/>
                  <a:uFillTx/>
                  <a:latin typeface="Segoe UI Semibold" panose="020B0702040204020203" pitchFamily="34" charset="0"/>
                  <a:ea typeface="+mn-ea"/>
                  <a:cs typeface="Segoe UI Semibold" panose="020B0702040204020203" pitchFamily="34" charset="0"/>
                </a:rPr>
                <a:t>Batch</a:t>
              </a: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882" b="0"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rPr>
                <a:t>Map reduce</a:t>
              </a: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0" cap="none" spc="0" normalizeH="0" baseline="0" noProof="0" dirty="0">
                <a:ln>
                  <a:noFill/>
                </a:ln>
                <a:gradFill>
                  <a:gsLst>
                    <a:gs pos="2917">
                      <a:schemeClr val="bg1"/>
                    </a:gs>
                    <a:gs pos="100000">
                      <a:schemeClr val="bg1"/>
                    </a:gs>
                  </a:gsLst>
                  <a:lin ang="5400000" scaled="0"/>
                </a:gradFill>
                <a:effectLst/>
                <a:uLnTx/>
                <a:uFillTx/>
                <a:latin typeface="+mn-lt"/>
                <a:ea typeface="+mn-ea"/>
                <a:cs typeface="Arial"/>
              </a:endParaRPr>
            </a:p>
          </p:txBody>
        </p:sp>
        <p:sp>
          <p:nvSpPr>
            <p:cNvPr id="192" name="Rectangle 191"/>
            <p:cNvSpPr/>
            <p:nvPr/>
          </p:nvSpPr>
          <p:spPr>
            <a:xfrm>
              <a:off x="2804593" y="3963789"/>
              <a:ext cx="4346139" cy="369827"/>
            </a:xfrm>
            <a:prstGeom prst="rect">
              <a:avLst/>
            </a:prstGeom>
            <a:solidFill>
              <a:schemeClr val="accent2"/>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89642" rIns="0" bIns="89642"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100000"/>
                </a:lnSpc>
                <a:spcBef>
                  <a:spcPts val="0"/>
                </a:spcBef>
                <a:spcAft>
                  <a:spcPts val="0"/>
                </a:spcAft>
                <a:buClrTx/>
                <a:buSzTx/>
                <a:buFontTx/>
                <a:buNone/>
                <a:tabLst/>
                <a:defRPr/>
              </a:pPr>
              <a:r>
                <a:rPr kumimoji="0" lang="en-US" sz="1274" b="0" i="0" u="none" strike="noStrike" kern="1200" cap="none" spc="0" normalizeH="0" baseline="0" noProof="0" dirty="0">
                  <a:ln>
                    <a:noFill/>
                  </a:ln>
                  <a:gradFill>
                    <a:gsLst>
                      <a:gs pos="1250">
                        <a:schemeClr val="bg1"/>
                      </a:gs>
                      <a:gs pos="100000">
                        <a:schemeClr val="bg1"/>
                      </a:gs>
                    </a:gsLst>
                    <a:lin ang="5400000" scaled="0"/>
                  </a:gradFill>
                  <a:effectLst/>
                  <a:uLnTx/>
                  <a:uFillTx/>
                  <a:latin typeface="+mn-lt"/>
                  <a:ea typeface="+mn-ea"/>
                  <a:cs typeface="Arial"/>
                </a:rPr>
                <a:t>Data access</a:t>
              </a:r>
            </a:p>
          </p:txBody>
        </p:sp>
        <p:sp>
          <p:nvSpPr>
            <p:cNvPr id="196" name="Rectangle 195"/>
            <p:cNvSpPr/>
            <p:nvPr/>
          </p:nvSpPr>
          <p:spPr>
            <a:xfrm>
              <a:off x="2893159" y="5666724"/>
              <a:ext cx="4149598" cy="644912"/>
            </a:xfrm>
            <a:prstGeom prst="rect">
              <a:avLst/>
            </a:prstGeom>
            <a:solidFill>
              <a:schemeClr val="tx1">
                <a:alpha val="13000"/>
              </a:schemeClr>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206178" rIns="179285" bIns="143428" rtlCol="0" anchor="t" anchorCtr="0"/>
            <a:lstStyle/>
            <a:p>
              <a:pPr marL="0" marR="0" lvl="0" indent="0" defTabSz="448193" eaLnBrk="1" fontAlgn="auto" latinLnBrk="0" hangingPunct="1">
                <a:lnSpc>
                  <a:spcPct val="90000"/>
                </a:lnSpc>
                <a:spcBef>
                  <a:spcPts val="0"/>
                </a:spcBef>
                <a:spcAft>
                  <a:spcPts val="0"/>
                </a:spcAft>
                <a:buClrTx/>
                <a:buSzTx/>
                <a:buFontTx/>
                <a:buNone/>
                <a:tabLst/>
                <a:defRPr/>
              </a:pPr>
              <a:r>
                <a:rPr kumimoji="0" lang="en-US" sz="1568" b="0" i="0" u="none" strike="noStrike" kern="0" cap="none" spc="0" normalizeH="0" baseline="0" noProof="0" dirty="0">
                  <a:ln>
                    <a:noFill/>
                  </a:ln>
                  <a:gradFill>
                    <a:gsLst>
                      <a:gs pos="2917">
                        <a:schemeClr val="tx1"/>
                      </a:gs>
                      <a:gs pos="100000">
                        <a:schemeClr val="tx1"/>
                      </a:gs>
                    </a:gsLst>
                    <a:lin ang="5400000" scaled="0"/>
                  </a:gradFill>
                  <a:effectLst/>
                  <a:uLnTx/>
                  <a:uFillTx/>
                  <a:cs typeface="Arial"/>
                </a:rPr>
                <a:t>HDFS  (Hadoop Distributed File System)</a:t>
              </a:r>
            </a:p>
          </p:txBody>
        </p:sp>
        <p:sp>
          <p:nvSpPr>
            <p:cNvPr id="197" name="Rectangle 196"/>
            <p:cNvSpPr/>
            <p:nvPr/>
          </p:nvSpPr>
          <p:spPr>
            <a:xfrm>
              <a:off x="2893160" y="6352603"/>
              <a:ext cx="4149459" cy="228600"/>
            </a:xfrm>
            <a:prstGeom prst="rect">
              <a:avLst/>
            </a:prstGeom>
            <a:solidFill>
              <a:schemeClr val="accent2"/>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35857" rIns="0" bIns="0"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100000"/>
                </a:lnSpc>
                <a:spcBef>
                  <a:spcPts val="0"/>
                </a:spcBef>
                <a:spcAft>
                  <a:spcPts val="0"/>
                </a:spcAft>
                <a:buClrTx/>
                <a:buSzTx/>
                <a:buFontTx/>
                <a:buNone/>
                <a:tabLst/>
                <a:defRPr/>
              </a:pPr>
              <a:r>
                <a:rPr kumimoji="0" lang="en-US" sz="1078" b="0" i="0" u="none" strike="noStrike" kern="1200" cap="none" spc="0" normalizeH="0" baseline="0" noProof="0" dirty="0">
                  <a:ln>
                    <a:noFill/>
                  </a:ln>
                  <a:gradFill>
                    <a:gsLst>
                      <a:gs pos="1250">
                        <a:schemeClr val="bg1"/>
                      </a:gs>
                      <a:gs pos="100000">
                        <a:schemeClr val="bg1"/>
                      </a:gs>
                    </a:gsLst>
                    <a:lin ang="5400000" scaled="0"/>
                  </a:gradFill>
                  <a:effectLst/>
                  <a:uLnTx/>
                  <a:uFillTx/>
                  <a:latin typeface="+mn-lt"/>
                  <a:ea typeface="+mn-ea"/>
                  <a:cs typeface="Arial"/>
                </a:rPr>
                <a:t>Data management</a:t>
              </a:r>
            </a:p>
          </p:txBody>
        </p:sp>
      </p:grpSp>
      <p:grpSp>
        <p:nvGrpSpPr>
          <p:cNvPr id="254" name="Group 253"/>
          <p:cNvGrpSpPr/>
          <p:nvPr/>
        </p:nvGrpSpPr>
        <p:grpSpPr>
          <a:xfrm>
            <a:off x="7049762" y="3606309"/>
            <a:ext cx="2290920" cy="2619437"/>
            <a:chOff x="7217409" y="3963789"/>
            <a:chExt cx="2336858" cy="2671962"/>
          </a:xfrm>
        </p:grpSpPr>
        <p:sp>
          <p:nvSpPr>
            <p:cNvPr id="255" name="Rectangle 254"/>
            <p:cNvSpPr/>
            <p:nvPr/>
          </p:nvSpPr>
          <p:spPr>
            <a:xfrm>
              <a:off x="7217409" y="4366380"/>
              <a:ext cx="2336858" cy="2269371"/>
            </a:xfrm>
            <a:prstGeom prst="rect">
              <a:avLst/>
            </a:prstGeom>
            <a:solidFill>
              <a:schemeClr val="bg1"/>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89642" rIns="179285" bIns="89642"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Authentication</a:t>
              </a: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Authorization</a:t>
              </a: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Accounting</a:t>
              </a: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Data protection</a:t>
              </a: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Storage: HDFS</a:t>
              </a: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Resources: YARN</a:t>
              </a: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Access: Hive, … </a:t>
              </a: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Pipeline: Falcon</a:t>
              </a: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Cluster: Knox</a:t>
              </a:r>
            </a:p>
          </p:txBody>
        </p:sp>
        <p:sp>
          <p:nvSpPr>
            <p:cNvPr id="256" name="Rectangle 255"/>
            <p:cNvSpPr/>
            <p:nvPr/>
          </p:nvSpPr>
          <p:spPr>
            <a:xfrm>
              <a:off x="7217409" y="3963789"/>
              <a:ext cx="2336858" cy="369827"/>
            </a:xfrm>
            <a:prstGeom prst="rect">
              <a:avLst/>
            </a:prstGeom>
            <a:solidFill>
              <a:schemeClr val="accent2"/>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89642" rIns="0" bIns="89642"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100000"/>
                </a:lnSpc>
                <a:spcBef>
                  <a:spcPts val="0"/>
                </a:spcBef>
                <a:spcAft>
                  <a:spcPts val="0"/>
                </a:spcAft>
                <a:buClrTx/>
                <a:buSzTx/>
                <a:buFontTx/>
                <a:buNone/>
                <a:tabLst/>
                <a:defRPr/>
              </a:pPr>
              <a:r>
                <a:rPr kumimoji="0" lang="en-US" sz="1274" b="0" i="0" u="none" strike="noStrike" kern="1200" cap="none" spc="0" normalizeH="0" baseline="0" noProof="0" dirty="0">
                  <a:ln>
                    <a:noFill/>
                  </a:ln>
                  <a:gradFill>
                    <a:gsLst>
                      <a:gs pos="1250">
                        <a:schemeClr val="bg1"/>
                      </a:gs>
                      <a:gs pos="100000">
                        <a:schemeClr val="bg1"/>
                      </a:gs>
                    </a:gsLst>
                    <a:lin ang="5400000" scaled="0"/>
                  </a:gradFill>
                  <a:effectLst/>
                  <a:uLnTx/>
                  <a:uFillTx/>
                  <a:latin typeface="+mn-lt"/>
                  <a:ea typeface="+mn-ea"/>
                  <a:cs typeface="Arial"/>
                </a:rPr>
                <a:t>Security</a:t>
              </a:r>
            </a:p>
          </p:txBody>
        </p:sp>
      </p:grpSp>
      <p:grpSp>
        <p:nvGrpSpPr>
          <p:cNvPr id="257" name="Group 256"/>
          <p:cNvGrpSpPr/>
          <p:nvPr/>
        </p:nvGrpSpPr>
        <p:grpSpPr>
          <a:xfrm>
            <a:off x="9397577" y="3606309"/>
            <a:ext cx="2290920" cy="2619437"/>
            <a:chOff x="9611417" y="3963789"/>
            <a:chExt cx="2336858" cy="2671962"/>
          </a:xfrm>
        </p:grpSpPr>
        <p:sp>
          <p:nvSpPr>
            <p:cNvPr id="258" name="Rectangle 257"/>
            <p:cNvSpPr/>
            <p:nvPr/>
          </p:nvSpPr>
          <p:spPr>
            <a:xfrm>
              <a:off x="9611417" y="3963789"/>
              <a:ext cx="2336858" cy="369827"/>
            </a:xfrm>
            <a:prstGeom prst="rect">
              <a:avLst/>
            </a:prstGeom>
            <a:solidFill>
              <a:schemeClr val="accent2"/>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89642" rIns="0" bIns="89642"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100000"/>
                </a:lnSpc>
                <a:spcBef>
                  <a:spcPts val="0"/>
                </a:spcBef>
                <a:spcAft>
                  <a:spcPts val="0"/>
                </a:spcAft>
                <a:buClrTx/>
                <a:buSzTx/>
                <a:buFontTx/>
                <a:buNone/>
                <a:tabLst/>
                <a:defRPr/>
              </a:pPr>
              <a:r>
                <a:rPr kumimoji="0" lang="en-US" sz="1274" b="0" i="0" u="none" strike="noStrike" kern="1200" cap="none" spc="0" normalizeH="0" baseline="0" noProof="0" dirty="0">
                  <a:ln>
                    <a:noFill/>
                  </a:ln>
                  <a:gradFill>
                    <a:gsLst>
                      <a:gs pos="1250">
                        <a:schemeClr val="bg1"/>
                      </a:gs>
                      <a:gs pos="100000">
                        <a:schemeClr val="bg1"/>
                      </a:gs>
                    </a:gsLst>
                    <a:lin ang="5400000" scaled="0"/>
                  </a:gradFill>
                  <a:effectLst/>
                  <a:uLnTx/>
                  <a:uFillTx/>
                  <a:latin typeface="+mn-lt"/>
                  <a:ea typeface="+mn-ea"/>
                  <a:cs typeface="Arial"/>
                </a:rPr>
                <a:t>Operations</a:t>
              </a:r>
            </a:p>
          </p:txBody>
        </p:sp>
        <p:sp>
          <p:nvSpPr>
            <p:cNvPr id="259" name="Rectangle 258"/>
            <p:cNvSpPr/>
            <p:nvPr/>
          </p:nvSpPr>
          <p:spPr>
            <a:xfrm>
              <a:off x="9611417" y="4366380"/>
              <a:ext cx="2336858" cy="1300344"/>
            </a:xfrm>
            <a:prstGeom prst="rect">
              <a:avLst/>
            </a:prstGeom>
            <a:solidFill>
              <a:schemeClr val="bg1"/>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89642" rIns="179285" bIns="89642"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Provision, manage, and monitor</a:t>
              </a: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1176"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dirty="0" err="1">
                  <a:ln>
                    <a:noFill/>
                  </a:ln>
                  <a:gradFill>
                    <a:gsLst>
                      <a:gs pos="2917">
                        <a:schemeClr val="tx1"/>
                      </a:gs>
                      <a:gs pos="100000">
                        <a:schemeClr val="tx1"/>
                      </a:gs>
                    </a:gsLst>
                    <a:lin ang="5400000" scaled="0"/>
                  </a:gradFill>
                  <a:effectLst/>
                  <a:uLnTx/>
                  <a:uFillTx/>
                  <a:latin typeface="+mn-lt"/>
                  <a:ea typeface="+mn-ea"/>
                  <a:cs typeface="Arial"/>
                </a:rPr>
                <a:t>Ambari</a:t>
              </a:r>
              <a:endParaRPr kumimoji="0" lang="en-US" sz="1176"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Zookeeper</a:t>
              </a: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980" b="1"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endParaRPr>
            </a:p>
          </p:txBody>
        </p:sp>
        <p:sp>
          <p:nvSpPr>
            <p:cNvPr id="260" name="Rectangle 259"/>
            <p:cNvSpPr/>
            <p:nvPr/>
          </p:nvSpPr>
          <p:spPr>
            <a:xfrm>
              <a:off x="9611417" y="5716587"/>
              <a:ext cx="2336858" cy="919164"/>
            </a:xfrm>
            <a:prstGeom prst="rect">
              <a:avLst/>
            </a:prstGeom>
            <a:solidFill>
              <a:schemeClr val="bg1"/>
            </a:solidFill>
            <a:ln w="28575" cmpd="sng">
              <a:noFill/>
            </a:ln>
            <a:effectLst/>
          </p:spPr>
          <p:style>
            <a:lnRef idx="1">
              <a:schemeClr val="accent1"/>
            </a:lnRef>
            <a:fillRef idx="3">
              <a:schemeClr val="accent1"/>
            </a:fillRef>
            <a:effectRef idx="2">
              <a:schemeClr val="accent1"/>
            </a:effectRef>
            <a:fontRef idx="minor">
              <a:schemeClr val="lt1"/>
            </a:fontRef>
          </p:style>
          <p:txBody>
            <a:bodyPr vert="horz" lIns="179285" tIns="89642" rIns="179285" bIns="89642"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rPr>
                <a:t>Scheduling</a:t>
              </a:r>
            </a:p>
            <a:p>
              <a:pPr marL="0" marR="0" lvl="0" indent="0" algn="l" defTabSz="448193" rtl="0" eaLnBrk="1" fontAlgn="auto" latinLnBrk="0" hangingPunct="1">
                <a:lnSpc>
                  <a:spcPct val="90000"/>
                </a:lnSpc>
                <a:spcBef>
                  <a:spcPts val="0"/>
                </a:spcBef>
                <a:spcAft>
                  <a:spcPts val="0"/>
                </a:spcAft>
                <a:buClrTx/>
                <a:buSzTx/>
                <a:buFontTx/>
                <a:buNone/>
                <a:tabLst/>
                <a:defRPr/>
              </a:pPr>
              <a:endParaRPr kumimoji="0" lang="en-US" sz="1176" b="0"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endParaRPr>
            </a:p>
            <a:p>
              <a:pPr marL="0" marR="0" lvl="0" indent="0" algn="l" defTabSz="448193" rtl="0" eaLnBrk="1" fontAlgn="auto" latinLnBrk="0" hangingPunct="1">
                <a:lnSpc>
                  <a:spcPct val="90000"/>
                </a:lnSpc>
                <a:spcBef>
                  <a:spcPts val="0"/>
                </a:spcBef>
                <a:spcAft>
                  <a:spcPts val="0"/>
                </a:spcAft>
                <a:buClrTx/>
                <a:buSzTx/>
                <a:buFontTx/>
                <a:buNone/>
                <a:tabLst/>
                <a:defRPr/>
              </a:pPr>
              <a:r>
                <a:rPr kumimoji="0" lang="en-US" sz="1176" b="0" i="0" u="none" strike="noStrike" kern="1200" cap="none" spc="0" normalizeH="0" baseline="0" noProof="0" dirty="0" err="1">
                  <a:ln>
                    <a:noFill/>
                  </a:ln>
                  <a:gradFill>
                    <a:gsLst>
                      <a:gs pos="2917">
                        <a:schemeClr val="tx1"/>
                      </a:gs>
                      <a:gs pos="100000">
                        <a:schemeClr val="tx1"/>
                      </a:gs>
                    </a:gsLst>
                    <a:lin ang="5400000" scaled="0"/>
                  </a:gradFill>
                  <a:effectLst/>
                  <a:uLnTx/>
                  <a:uFillTx/>
                  <a:latin typeface="+mn-lt"/>
                  <a:ea typeface="+mn-ea"/>
                  <a:cs typeface="Arial"/>
                </a:rPr>
                <a:t>Oozie</a:t>
              </a:r>
              <a:endParaRPr kumimoji="0" lang="en-US" sz="980" b="1" i="0" u="none" strike="noStrike" kern="1200" cap="none" spc="0" normalizeH="0" baseline="0" noProof="0" dirty="0">
                <a:ln>
                  <a:noFill/>
                </a:ln>
                <a:gradFill>
                  <a:gsLst>
                    <a:gs pos="2917">
                      <a:schemeClr val="tx1"/>
                    </a:gs>
                    <a:gs pos="100000">
                      <a:schemeClr val="tx1"/>
                    </a:gs>
                  </a:gsLst>
                  <a:lin ang="5400000" scaled="0"/>
                </a:gradFill>
                <a:effectLst/>
                <a:uLnTx/>
                <a:uFillTx/>
                <a:latin typeface="+mn-lt"/>
                <a:ea typeface="+mn-ea"/>
                <a:cs typeface="Arial"/>
              </a:endParaRPr>
            </a:p>
          </p:txBody>
        </p:sp>
      </p:grpSp>
    </p:spTree>
    <p:extLst>
      <p:ext uri="{BB962C8B-B14F-4D97-AF65-F5344CB8AC3E}">
        <p14:creationId xmlns:p14="http://schemas.microsoft.com/office/powerpoint/2010/main" val="211183722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0"/>
          </p:nvPr>
        </p:nvSpPr>
        <p:spPr/>
        <p:txBody>
          <a:bodyPr>
            <a:normAutofit/>
          </a:bodyPr>
          <a:lstStyle/>
          <a:p>
            <a:r>
              <a:rPr lang="en-GB" dirty="0"/>
              <a:t>What is Pig?</a:t>
            </a:r>
          </a:p>
          <a:p>
            <a:r>
              <a:rPr lang="en-GB" dirty="0"/>
              <a:t>Pig Latin</a:t>
            </a:r>
          </a:p>
          <a:p>
            <a:r>
              <a:rPr lang="en-GB" dirty="0"/>
              <a:t>Common Pig Latin Operations</a:t>
            </a:r>
          </a:p>
          <a:p>
            <a:r>
              <a:rPr lang="en-GB" dirty="0"/>
              <a:t>Pig Latin and Map/Reduce</a:t>
            </a:r>
          </a:p>
          <a:p>
            <a:r>
              <a:rPr lang="en-GB" dirty="0"/>
              <a:t>Using Pig in PowerShell</a:t>
            </a:r>
          </a:p>
        </p:txBody>
      </p:sp>
      <p:sp>
        <p:nvSpPr>
          <p:cNvPr id="2" name="Title 1"/>
          <p:cNvSpPr>
            <a:spLocks noGrp="1"/>
          </p:cNvSpPr>
          <p:nvPr>
            <p:ph type="title"/>
          </p:nvPr>
        </p:nvSpPr>
        <p:spPr/>
        <p:txBody>
          <a:bodyPr/>
          <a:lstStyle/>
          <a:p>
            <a:r>
              <a:rPr lang="en-US" dirty="0"/>
              <a:t>Pig Overview</a:t>
            </a:r>
          </a:p>
        </p:txBody>
      </p:sp>
    </p:spTree>
    <p:extLst>
      <p:ext uri="{BB962C8B-B14F-4D97-AF65-F5344CB8AC3E}">
        <p14:creationId xmlns:p14="http://schemas.microsoft.com/office/powerpoint/2010/main" val="247387135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What is Pig?</a:t>
            </a:r>
            <a:endParaRPr lang="en-US" dirty="0"/>
          </a:p>
        </p:txBody>
      </p:sp>
      <p:sp>
        <p:nvSpPr>
          <p:cNvPr id="3" name="Content Placeholder 2"/>
          <p:cNvSpPr>
            <a:spLocks noGrp="1"/>
          </p:cNvSpPr>
          <p:nvPr>
            <p:ph sz="quarter" idx="10"/>
          </p:nvPr>
        </p:nvSpPr>
        <p:spPr>
          <a:xfrm>
            <a:off x="265113" y="3172187"/>
            <a:ext cx="11525250" cy="3254989"/>
          </a:xfrm>
        </p:spPr>
        <p:txBody>
          <a:bodyPr/>
          <a:lstStyle/>
          <a:p>
            <a:r>
              <a:rPr lang="en-US" sz="2400" dirty="0"/>
              <a:t>Pig is a high level scripting language used with Hadoop</a:t>
            </a:r>
          </a:p>
          <a:p>
            <a:r>
              <a:rPr lang="en-US" sz="2400" dirty="0"/>
              <a:t>Pig can be used to invoke code in many languages including </a:t>
            </a:r>
            <a:r>
              <a:rPr lang="en-US" sz="2400" dirty="0" err="1"/>
              <a:t>Jruby</a:t>
            </a:r>
            <a:r>
              <a:rPr lang="en-US" sz="2400" dirty="0"/>
              <a:t>, </a:t>
            </a:r>
            <a:r>
              <a:rPr lang="en-US" sz="2400" dirty="0" err="1"/>
              <a:t>Jython</a:t>
            </a:r>
            <a:r>
              <a:rPr lang="en-US" sz="2400" dirty="0"/>
              <a:t>, Java</a:t>
            </a:r>
          </a:p>
          <a:p>
            <a:r>
              <a:rPr lang="en-US" sz="2400" dirty="0"/>
              <a:t>Pig Latin statements perform a series of transformations to data </a:t>
            </a:r>
            <a:r>
              <a:rPr lang="en-US" sz="2400" i="1" dirty="0"/>
              <a:t>relations</a:t>
            </a:r>
          </a:p>
          <a:p>
            <a:r>
              <a:rPr lang="en-US" sz="2400" dirty="0"/>
              <a:t>Relations are loaded using </a:t>
            </a:r>
            <a:r>
              <a:rPr lang="en-US" sz="2400" i="1" dirty="0"/>
              <a:t>schema on read </a:t>
            </a:r>
            <a:r>
              <a:rPr lang="en-US" sz="2400" dirty="0"/>
              <a:t>semantics to project table structure at runtime</a:t>
            </a:r>
          </a:p>
          <a:p>
            <a:r>
              <a:rPr lang="en-US" sz="2400" dirty="0"/>
              <a:t>Run Pig Latin statements interactively in the Grunt shell, or save a script file and run them as a batch</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3654" y="1559767"/>
            <a:ext cx="776796" cy="1298359"/>
          </a:xfrm>
          <a:prstGeom prst="rect">
            <a:avLst/>
          </a:prstGeom>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08545" y="1559766"/>
            <a:ext cx="776796" cy="1298359"/>
          </a:xfrm>
          <a:prstGeom prst="rect">
            <a:avLst/>
          </a:prstGeom>
        </p:spPr>
      </p:pic>
      <p:graphicFrame>
        <p:nvGraphicFramePr>
          <p:cNvPr id="7" name="Table 6"/>
          <p:cNvGraphicFramePr>
            <a:graphicFrameLocks noGrp="1"/>
          </p:cNvGraphicFramePr>
          <p:nvPr>
            <p:extLst/>
          </p:nvPr>
        </p:nvGraphicFramePr>
        <p:xfrm>
          <a:off x="2718360" y="1763821"/>
          <a:ext cx="1449753" cy="836264"/>
        </p:xfrm>
        <a:graphic>
          <a:graphicData uri="http://schemas.openxmlformats.org/drawingml/2006/table">
            <a:tbl>
              <a:tblPr firstRow="1" bandRow="1">
                <a:tableStyleId>{5C22544A-7EE6-4342-B048-85BDC9FD1C3A}</a:tableStyleId>
              </a:tblPr>
              <a:tblGrid>
                <a:gridCol w="483251">
                  <a:extLst>
                    <a:ext uri="{9D8B030D-6E8A-4147-A177-3AD203B41FA5}">
                      <a16:colId xmlns:a16="http://schemas.microsoft.com/office/drawing/2014/main" val="20000"/>
                    </a:ext>
                  </a:extLst>
                </a:gridCol>
                <a:gridCol w="483251">
                  <a:extLst>
                    <a:ext uri="{9D8B030D-6E8A-4147-A177-3AD203B41FA5}">
                      <a16:colId xmlns:a16="http://schemas.microsoft.com/office/drawing/2014/main" val="20001"/>
                    </a:ext>
                  </a:extLst>
                </a:gridCol>
                <a:gridCol w="483251">
                  <a:extLst>
                    <a:ext uri="{9D8B030D-6E8A-4147-A177-3AD203B41FA5}">
                      <a16:colId xmlns:a16="http://schemas.microsoft.com/office/drawing/2014/main" val="20002"/>
                    </a:ext>
                  </a:extLst>
                </a:gridCol>
              </a:tblGrid>
              <a:tr h="209066">
                <a:tc>
                  <a:txBody>
                    <a:bodyPr/>
                    <a:lstStyle/>
                    <a:p>
                      <a:endParaRPr lang="en-US" sz="300" dirty="0"/>
                    </a:p>
                  </a:txBody>
                  <a:tcPr/>
                </a:tc>
                <a:tc>
                  <a:txBody>
                    <a:bodyPr/>
                    <a:lstStyle/>
                    <a:p>
                      <a:endParaRPr lang="en-US" sz="300"/>
                    </a:p>
                  </a:txBody>
                  <a:tcPr/>
                </a:tc>
                <a:tc>
                  <a:txBody>
                    <a:bodyPr/>
                    <a:lstStyle/>
                    <a:p>
                      <a:endParaRPr lang="en-US" sz="300" dirty="0"/>
                    </a:p>
                  </a:txBody>
                  <a:tcPr/>
                </a:tc>
                <a:extLst>
                  <a:ext uri="{0D108BD9-81ED-4DB2-BD59-A6C34878D82A}">
                    <a16:rowId xmlns:a16="http://schemas.microsoft.com/office/drawing/2014/main" val="10000"/>
                  </a:ext>
                </a:extLst>
              </a:tr>
              <a:tr h="209066">
                <a:tc>
                  <a:txBody>
                    <a:bodyPr/>
                    <a:lstStyle/>
                    <a:p>
                      <a:endParaRPr lang="en-US" sz="300" dirty="0"/>
                    </a:p>
                  </a:txBody>
                  <a:tcPr/>
                </a:tc>
                <a:tc>
                  <a:txBody>
                    <a:bodyPr/>
                    <a:lstStyle/>
                    <a:p>
                      <a:endParaRPr lang="en-US" sz="300" dirty="0"/>
                    </a:p>
                  </a:txBody>
                  <a:tcPr/>
                </a:tc>
                <a:tc>
                  <a:txBody>
                    <a:bodyPr/>
                    <a:lstStyle/>
                    <a:p>
                      <a:endParaRPr lang="en-US" sz="300"/>
                    </a:p>
                  </a:txBody>
                  <a:tcPr/>
                </a:tc>
                <a:extLst>
                  <a:ext uri="{0D108BD9-81ED-4DB2-BD59-A6C34878D82A}">
                    <a16:rowId xmlns:a16="http://schemas.microsoft.com/office/drawing/2014/main" val="10001"/>
                  </a:ext>
                </a:extLst>
              </a:tr>
              <a:tr h="209066">
                <a:tc>
                  <a:txBody>
                    <a:bodyPr/>
                    <a:lstStyle/>
                    <a:p>
                      <a:endParaRPr lang="en-US" sz="300"/>
                    </a:p>
                  </a:txBody>
                  <a:tcPr/>
                </a:tc>
                <a:tc>
                  <a:txBody>
                    <a:bodyPr/>
                    <a:lstStyle/>
                    <a:p>
                      <a:endParaRPr lang="en-US" sz="300" dirty="0"/>
                    </a:p>
                  </a:txBody>
                  <a:tcPr/>
                </a:tc>
                <a:tc>
                  <a:txBody>
                    <a:bodyPr/>
                    <a:lstStyle/>
                    <a:p>
                      <a:endParaRPr lang="en-US" sz="300"/>
                    </a:p>
                  </a:txBody>
                  <a:tcPr/>
                </a:tc>
                <a:extLst>
                  <a:ext uri="{0D108BD9-81ED-4DB2-BD59-A6C34878D82A}">
                    <a16:rowId xmlns:a16="http://schemas.microsoft.com/office/drawing/2014/main" val="10002"/>
                  </a:ext>
                </a:extLst>
              </a:tr>
              <a:tr h="209066">
                <a:tc>
                  <a:txBody>
                    <a:bodyPr/>
                    <a:lstStyle/>
                    <a:p>
                      <a:endParaRPr lang="en-US" sz="300"/>
                    </a:p>
                  </a:txBody>
                  <a:tcPr/>
                </a:tc>
                <a:tc>
                  <a:txBody>
                    <a:bodyPr/>
                    <a:lstStyle/>
                    <a:p>
                      <a:endParaRPr lang="en-US" sz="300" dirty="0"/>
                    </a:p>
                  </a:txBody>
                  <a:tcPr/>
                </a:tc>
                <a:tc>
                  <a:txBody>
                    <a:bodyPr/>
                    <a:lstStyle/>
                    <a:p>
                      <a:endParaRPr lang="en-US" sz="300" dirty="0"/>
                    </a:p>
                  </a:txBody>
                  <a:tcPr/>
                </a:tc>
                <a:extLst>
                  <a:ext uri="{0D108BD9-81ED-4DB2-BD59-A6C34878D82A}">
                    <a16:rowId xmlns:a16="http://schemas.microsoft.com/office/drawing/2014/main" val="10003"/>
                  </a:ext>
                </a:extLst>
              </a:tr>
            </a:tbl>
          </a:graphicData>
        </a:graphic>
      </p:graphicFrame>
      <p:graphicFrame>
        <p:nvGraphicFramePr>
          <p:cNvPr id="8" name="Table 7"/>
          <p:cNvGraphicFramePr>
            <a:graphicFrameLocks noGrp="1"/>
          </p:cNvGraphicFramePr>
          <p:nvPr>
            <p:extLst/>
          </p:nvPr>
        </p:nvGraphicFramePr>
        <p:xfrm>
          <a:off x="5302861" y="1763821"/>
          <a:ext cx="1449753" cy="836264"/>
        </p:xfrm>
        <a:graphic>
          <a:graphicData uri="http://schemas.openxmlformats.org/drawingml/2006/table">
            <a:tbl>
              <a:tblPr firstRow="1" bandRow="1">
                <a:tableStyleId>{5C22544A-7EE6-4342-B048-85BDC9FD1C3A}</a:tableStyleId>
              </a:tblPr>
              <a:tblGrid>
                <a:gridCol w="483251">
                  <a:extLst>
                    <a:ext uri="{9D8B030D-6E8A-4147-A177-3AD203B41FA5}">
                      <a16:colId xmlns:a16="http://schemas.microsoft.com/office/drawing/2014/main" val="20000"/>
                    </a:ext>
                  </a:extLst>
                </a:gridCol>
                <a:gridCol w="483251">
                  <a:extLst>
                    <a:ext uri="{9D8B030D-6E8A-4147-A177-3AD203B41FA5}">
                      <a16:colId xmlns:a16="http://schemas.microsoft.com/office/drawing/2014/main" val="20001"/>
                    </a:ext>
                  </a:extLst>
                </a:gridCol>
                <a:gridCol w="483251">
                  <a:extLst>
                    <a:ext uri="{9D8B030D-6E8A-4147-A177-3AD203B41FA5}">
                      <a16:colId xmlns:a16="http://schemas.microsoft.com/office/drawing/2014/main" val="20002"/>
                    </a:ext>
                  </a:extLst>
                </a:gridCol>
              </a:tblGrid>
              <a:tr h="209066">
                <a:tc>
                  <a:txBody>
                    <a:bodyPr/>
                    <a:lstStyle/>
                    <a:p>
                      <a:endParaRPr lang="en-US" sz="300" dirty="0"/>
                    </a:p>
                  </a:txBody>
                  <a:tcPr/>
                </a:tc>
                <a:tc>
                  <a:txBody>
                    <a:bodyPr/>
                    <a:lstStyle/>
                    <a:p>
                      <a:endParaRPr lang="en-US" sz="300" dirty="0"/>
                    </a:p>
                  </a:txBody>
                  <a:tcPr/>
                </a:tc>
                <a:tc>
                  <a:txBody>
                    <a:bodyPr/>
                    <a:lstStyle/>
                    <a:p>
                      <a:endParaRPr lang="en-US" sz="300" dirty="0"/>
                    </a:p>
                  </a:txBody>
                  <a:tcPr/>
                </a:tc>
                <a:extLst>
                  <a:ext uri="{0D108BD9-81ED-4DB2-BD59-A6C34878D82A}">
                    <a16:rowId xmlns:a16="http://schemas.microsoft.com/office/drawing/2014/main" val="10000"/>
                  </a:ext>
                </a:extLst>
              </a:tr>
              <a:tr h="209066">
                <a:tc>
                  <a:txBody>
                    <a:bodyPr/>
                    <a:lstStyle/>
                    <a:p>
                      <a:endParaRPr lang="en-US" sz="300" dirty="0"/>
                    </a:p>
                  </a:txBody>
                  <a:tcPr/>
                </a:tc>
                <a:tc>
                  <a:txBody>
                    <a:bodyPr/>
                    <a:lstStyle/>
                    <a:p>
                      <a:endParaRPr lang="en-US" sz="300" dirty="0"/>
                    </a:p>
                  </a:txBody>
                  <a:tcPr/>
                </a:tc>
                <a:tc>
                  <a:txBody>
                    <a:bodyPr/>
                    <a:lstStyle/>
                    <a:p>
                      <a:endParaRPr lang="en-US" sz="300" dirty="0"/>
                    </a:p>
                  </a:txBody>
                  <a:tcPr/>
                </a:tc>
                <a:extLst>
                  <a:ext uri="{0D108BD9-81ED-4DB2-BD59-A6C34878D82A}">
                    <a16:rowId xmlns:a16="http://schemas.microsoft.com/office/drawing/2014/main" val="10001"/>
                  </a:ext>
                </a:extLst>
              </a:tr>
              <a:tr h="209066">
                <a:tc>
                  <a:txBody>
                    <a:bodyPr/>
                    <a:lstStyle/>
                    <a:p>
                      <a:endParaRPr lang="en-US" sz="300"/>
                    </a:p>
                  </a:txBody>
                  <a:tcPr/>
                </a:tc>
                <a:tc>
                  <a:txBody>
                    <a:bodyPr/>
                    <a:lstStyle/>
                    <a:p>
                      <a:endParaRPr lang="en-US" sz="300" dirty="0"/>
                    </a:p>
                  </a:txBody>
                  <a:tcPr/>
                </a:tc>
                <a:tc>
                  <a:txBody>
                    <a:bodyPr/>
                    <a:lstStyle/>
                    <a:p>
                      <a:endParaRPr lang="en-US" sz="300"/>
                    </a:p>
                  </a:txBody>
                  <a:tcPr/>
                </a:tc>
                <a:extLst>
                  <a:ext uri="{0D108BD9-81ED-4DB2-BD59-A6C34878D82A}">
                    <a16:rowId xmlns:a16="http://schemas.microsoft.com/office/drawing/2014/main" val="10002"/>
                  </a:ext>
                </a:extLst>
              </a:tr>
              <a:tr h="209066">
                <a:tc>
                  <a:txBody>
                    <a:bodyPr/>
                    <a:lstStyle/>
                    <a:p>
                      <a:endParaRPr lang="en-US" sz="300"/>
                    </a:p>
                  </a:txBody>
                  <a:tcPr/>
                </a:tc>
                <a:tc>
                  <a:txBody>
                    <a:bodyPr/>
                    <a:lstStyle/>
                    <a:p>
                      <a:endParaRPr lang="en-US" sz="300"/>
                    </a:p>
                  </a:txBody>
                  <a:tcPr/>
                </a:tc>
                <a:tc>
                  <a:txBody>
                    <a:bodyPr/>
                    <a:lstStyle/>
                    <a:p>
                      <a:endParaRPr lang="en-US" sz="300" dirty="0"/>
                    </a:p>
                  </a:txBody>
                  <a:tcPr/>
                </a:tc>
                <a:extLst>
                  <a:ext uri="{0D108BD9-81ED-4DB2-BD59-A6C34878D82A}">
                    <a16:rowId xmlns:a16="http://schemas.microsoft.com/office/drawing/2014/main" val="10003"/>
                  </a:ext>
                </a:extLst>
              </a:tr>
            </a:tbl>
          </a:graphicData>
        </a:graphic>
      </p:graphicFrame>
      <p:sp>
        <p:nvSpPr>
          <p:cNvPr id="9" name="Right Arrow 8"/>
          <p:cNvSpPr/>
          <p:nvPr/>
        </p:nvSpPr>
        <p:spPr>
          <a:xfrm>
            <a:off x="1934307" y="1931987"/>
            <a:ext cx="677007" cy="55391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 name="Right Arrow 9"/>
          <p:cNvSpPr/>
          <p:nvPr/>
        </p:nvSpPr>
        <p:spPr>
          <a:xfrm>
            <a:off x="4405994" y="1931987"/>
            <a:ext cx="677007" cy="55391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 name="Right Arrow 10"/>
          <p:cNvSpPr/>
          <p:nvPr/>
        </p:nvSpPr>
        <p:spPr>
          <a:xfrm>
            <a:off x="6877681" y="1931987"/>
            <a:ext cx="677007" cy="55391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83468744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ig—Where it fits</a:t>
            </a:r>
          </a:p>
        </p:txBody>
      </p:sp>
      <p:sp>
        <p:nvSpPr>
          <p:cNvPr id="9" name="Content Placeholder 8"/>
          <p:cNvSpPr>
            <a:spLocks noGrp="1"/>
          </p:cNvSpPr>
          <p:nvPr>
            <p:ph sz="quarter" idx="10"/>
          </p:nvPr>
        </p:nvSpPr>
        <p:spPr/>
        <p:txBody>
          <a:bodyPr/>
          <a:lstStyle/>
          <a:p>
            <a:pPr marL="0" indent="0">
              <a:buNone/>
            </a:pPr>
            <a:r>
              <a:rPr lang="en-US" b="0" dirty="0">
                <a:latin typeface="Segoe UI Light"/>
              </a:rPr>
              <a:t>Pig is designed to perform long series of data operations like:</a:t>
            </a:r>
          </a:p>
          <a:p>
            <a:pPr marL="336145" lvl="0" indent="-336145" defTabSz="914367">
              <a:spcBef>
                <a:spcPts val="1176"/>
              </a:spcBef>
              <a:defRPr/>
            </a:pPr>
            <a:r>
              <a:rPr lang="en-US" sz="2800" b="0" dirty="0">
                <a:solidFill>
                  <a:srgbClr val="505050"/>
                </a:solidFill>
              </a:rPr>
              <a:t>Extract-transform-load (ETL) data pipelines</a:t>
            </a:r>
          </a:p>
          <a:p>
            <a:pPr marL="336145" indent="-336145" defTabSz="914367">
              <a:spcBef>
                <a:spcPts val="1176"/>
              </a:spcBef>
              <a:defRPr/>
            </a:pPr>
            <a:r>
              <a:rPr lang="en-US" sz="2800" b="0" dirty="0">
                <a:solidFill>
                  <a:srgbClr val="505050"/>
                </a:solidFill>
              </a:rPr>
              <a:t>Research on raw data</a:t>
            </a:r>
          </a:p>
          <a:p>
            <a:pPr marL="336145" indent="-336145" defTabSz="914367">
              <a:spcBef>
                <a:spcPts val="1176"/>
              </a:spcBef>
              <a:defRPr/>
            </a:pPr>
            <a:r>
              <a:rPr lang="en-US" sz="2800" b="0" dirty="0">
                <a:solidFill>
                  <a:srgbClr val="505050"/>
                </a:solidFill>
              </a:rPr>
              <a:t>Iterative data processing</a:t>
            </a:r>
          </a:p>
          <a:p>
            <a:pPr lvl="1"/>
            <a:endParaRPr lang="en-US" dirty="0"/>
          </a:p>
        </p:txBody>
      </p:sp>
      <p:sp>
        <p:nvSpPr>
          <p:cNvPr id="7" name="Slide Number Placeholder 6"/>
          <p:cNvSpPr>
            <a:spLocks noGrp="1"/>
          </p:cNvSpPr>
          <p:nvPr>
            <p:ph type="sldNum" sz="quarter" idx="4294967295"/>
          </p:nvPr>
        </p:nvSpPr>
        <p:spPr>
          <a:xfrm>
            <a:off x="11636375" y="6437313"/>
            <a:ext cx="555625" cy="134937"/>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8A0AC42-AA1D-4944-8D96-660DE70C7E1B}" type="slidenum">
              <a:rPr kumimoji="0" lang="en-IN" sz="1800" b="0" i="0" u="none" strike="noStrike" kern="0" cap="none" spc="0" normalizeH="0" baseline="0" noProof="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IN"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84596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Pig Latin</a:t>
            </a:r>
            <a:endParaRPr lang="en-US" dirty="0"/>
          </a:p>
        </p:txBody>
      </p:sp>
      <p:sp>
        <p:nvSpPr>
          <p:cNvPr id="4" name="Rectangle 3"/>
          <p:cNvSpPr/>
          <p:nvPr/>
        </p:nvSpPr>
        <p:spPr>
          <a:xfrm>
            <a:off x="291121" y="2586759"/>
            <a:ext cx="11701218" cy="3046988"/>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lumMod val="50000"/>
                    <a:lumOff val="50000"/>
                  </a:schemeClr>
                </a:solidFill>
                <a:effectLst/>
                <a:uLnTx/>
                <a:uFillTx/>
                <a:latin typeface="Courier New" panose="02070309020205020404" pitchFamily="49" charset="0"/>
                <a:cs typeface="Courier New" panose="02070309020205020404" pitchFamily="49" charset="0"/>
              </a:rPr>
              <a:t>-- Load comma-delimited source data. Default data type is </a:t>
            </a:r>
            <a:r>
              <a:rPr kumimoji="0" lang="en-US" sz="1600" b="0" i="0" u="none" strike="noStrike" kern="0" cap="none" spc="0" normalizeH="0" baseline="0" noProof="0" dirty="0" err="1">
                <a:ln>
                  <a:noFill/>
                </a:ln>
                <a:solidFill>
                  <a:schemeClr val="tx1">
                    <a:lumMod val="50000"/>
                    <a:lumOff val="50000"/>
                  </a:schemeClr>
                </a:solidFill>
                <a:effectLst/>
                <a:uLnTx/>
                <a:uFillTx/>
                <a:latin typeface="Courier New" panose="02070309020205020404" pitchFamily="49" charset="0"/>
                <a:cs typeface="Courier New" panose="02070309020205020404" pitchFamily="49" charset="0"/>
              </a:rPr>
              <a:t>chararray</a:t>
            </a:r>
            <a:r>
              <a:rPr kumimoji="0" lang="en-US" sz="1600" b="0" i="0" u="none" strike="noStrike" kern="0" cap="none" spc="0" normalizeH="0" baseline="0" noProof="0" dirty="0">
                <a:ln>
                  <a:noFill/>
                </a:ln>
                <a:solidFill>
                  <a:schemeClr val="tx1">
                    <a:lumMod val="50000"/>
                    <a:lumOff val="50000"/>
                  </a:schemeClr>
                </a:solidFill>
                <a:effectLst/>
                <a:uLnTx/>
                <a:uFillTx/>
                <a:latin typeface="Courier New" panose="02070309020205020404" pitchFamily="49" charset="0"/>
                <a:cs typeface="Courier New" panose="02070309020205020404" pitchFamily="49" charset="0"/>
              </a:rPr>
              <a:t>, but temp is a long </a:t>
            </a:r>
            <a:r>
              <a:rPr kumimoji="0" lang="en-US" sz="1600" b="0" i="0" u="none" strike="noStrike" kern="0" cap="none" spc="0" normalizeH="0" baseline="0" noProof="0" dirty="0" err="1">
                <a:ln>
                  <a:noFill/>
                </a:ln>
                <a:solidFill>
                  <a:schemeClr val="tx1">
                    <a:lumMod val="50000"/>
                    <a:lumOff val="50000"/>
                  </a:schemeClr>
                </a:solidFill>
                <a:effectLst/>
                <a:uLnTx/>
                <a:uFillTx/>
                <a:latin typeface="Courier New" panose="02070309020205020404" pitchFamily="49" charset="0"/>
                <a:cs typeface="Courier New" panose="02070309020205020404" pitchFamily="49" charset="0"/>
              </a:rPr>
              <a:t>int</a:t>
            </a:r>
            <a:endParaRPr kumimoji="0" lang="en-US" sz="1600" b="0" i="0" u="none" strike="noStrike" kern="0" cap="none" spc="0" normalizeH="0" baseline="0" noProof="0" dirty="0">
              <a:ln>
                <a:noFill/>
              </a:ln>
              <a:solidFill>
                <a:schemeClr val="tx1">
                  <a:lumMod val="50000"/>
                  <a:lumOff val="50000"/>
                </a:schemeClr>
              </a:solidFill>
              <a:effectLst/>
              <a:uLnTx/>
              <a:uFillTx/>
              <a:latin typeface="Courier New" panose="02070309020205020404" pitchFamily="49" charset="0"/>
              <a:cs typeface="Courier New" panose="02070309020205020404" pitchFamily="49"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Readings = LOAD '/weather/data.txt' USING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PigStorage</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S (date,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temp:long</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lumMod val="50000"/>
                    <a:lumOff val="50000"/>
                  </a:schemeClr>
                </a:solidFill>
                <a:effectLst/>
                <a:uLnTx/>
                <a:uFillTx/>
                <a:latin typeface="Courier New" panose="02070309020205020404" pitchFamily="49" charset="0"/>
                <a:cs typeface="Courier New" panose="02070309020205020404" pitchFamily="49" charset="0"/>
              </a:rPr>
              <a:t>-- Group the tuples by dat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GroupedReading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 GROUP Readings BY date;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lumMod val="50000"/>
                    <a:lumOff val="50000"/>
                  </a:schemeClr>
                </a:solidFill>
                <a:effectLst/>
                <a:uLnTx/>
                <a:uFillTx/>
                <a:latin typeface="Courier New" panose="02070309020205020404" pitchFamily="49" charset="0"/>
                <a:cs typeface="Courier New" panose="02070309020205020404" pitchFamily="49" charset="0"/>
              </a:rPr>
              <a:t>-- Get the average temp value for each date grouping</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GroupedAvg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 FOREACH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GroupedReading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GENERATE group, AVG(</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Readings.temp</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S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avgtemp</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lumMod val="50000"/>
                    <a:lumOff val="50000"/>
                  </a:schemeClr>
                </a:solidFill>
                <a:effectLst/>
                <a:uLnTx/>
                <a:uFillTx/>
                <a:latin typeface="Courier New" panose="02070309020205020404" pitchFamily="49" charset="0"/>
                <a:cs typeface="Courier New" panose="02070309020205020404" pitchFamily="49" charset="0"/>
              </a:rPr>
              <a:t>-- Ungroup the dates with the average temp</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AvgWeather</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 FOREACH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GroupedAvg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GENERATE FLATTEN(group) as date,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avgtemp</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lumMod val="50000"/>
                    <a:lumOff val="50000"/>
                  </a:schemeClr>
                </a:solidFill>
                <a:effectLst/>
                <a:uLnTx/>
                <a:uFillTx/>
                <a:latin typeface="Courier New" panose="02070309020205020404" pitchFamily="49" charset="0"/>
                <a:cs typeface="Courier New" panose="02070309020205020404" pitchFamily="49" charset="0"/>
              </a:rPr>
              <a:t>-- Sort the results by dat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SortedResult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 ORDER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AvgWeather</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BY date ASC;</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lumMod val="50000"/>
                    <a:lumOff val="50000"/>
                  </a:schemeClr>
                </a:solidFill>
                <a:effectLst/>
                <a:uLnTx/>
                <a:uFillTx/>
                <a:latin typeface="Courier New" panose="02070309020205020404" pitchFamily="49" charset="0"/>
                <a:cs typeface="Courier New" panose="02070309020205020404" pitchFamily="49" charset="0"/>
              </a:rPr>
              <a:t>-- Save the results in the /weather/summary f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STORE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SortedResult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INTO '/weather/summary';</a:t>
            </a:r>
          </a:p>
        </p:txBody>
      </p:sp>
      <p:sp>
        <p:nvSpPr>
          <p:cNvPr id="6" name="Rectangle 5"/>
          <p:cNvSpPr/>
          <p:nvPr/>
        </p:nvSpPr>
        <p:spPr>
          <a:xfrm>
            <a:off x="4023945" y="388642"/>
            <a:ext cx="2271346" cy="1846659"/>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2013-06-01,12</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2013-06-01,14</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2013-06-01,16</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2013-06-02,9</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2013-06-02,12</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2013-06-02,9</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a:t>
            </a:r>
          </a:p>
        </p:txBody>
      </p:sp>
      <p:sp>
        <p:nvSpPr>
          <p:cNvPr id="7" name="Down Arrow 6"/>
          <p:cNvSpPr/>
          <p:nvPr/>
        </p:nvSpPr>
        <p:spPr>
          <a:xfrm>
            <a:off x="4659923" y="1960685"/>
            <a:ext cx="499695" cy="626074"/>
          </a:xfrm>
          <a:prstGeom prst="downArrow">
            <a:avLst/>
          </a:prstGeom>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 name="Rectangle 7"/>
          <p:cNvSpPr/>
          <p:nvPr/>
        </p:nvSpPr>
        <p:spPr>
          <a:xfrm>
            <a:off x="3832283" y="6188455"/>
            <a:ext cx="2814701" cy="58477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2013-06-01  14.00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2013-06-02  10.00</a:t>
            </a:r>
          </a:p>
        </p:txBody>
      </p:sp>
      <p:sp>
        <p:nvSpPr>
          <p:cNvPr id="9" name="Down Arrow 8"/>
          <p:cNvSpPr/>
          <p:nvPr/>
        </p:nvSpPr>
        <p:spPr>
          <a:xfrm>
            <a:off x="4659922" y="5562381"/>
            <a:ext cx="499695" cy="626074"/>
          </a:xfrm>
          <a:prstGeom prst="downArrow">
            <a:avLst/>
          </a:prstGeom>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2989076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79511" y="2066192"/>
            <a:ext cx="5616915" cy="4258410"/>
          </a:xfrm>
        </p:spPr>
        <p:txBody>
          <a:bodyPr>
            <a:normAutofit/>
          </a:bodyPr>
          <a:lstStyle/>
          <a:p>
            <a:r>
              <a:rPr lang="en-GB" dirty="0"/>
              <a:t>LOAD</a:t>
            </a:r>
          </a:p>
          <a:p>
            <a:r>
              <a:rPr lang="en-GB" dirty="0"/>
              <a:t>FILTER</a:t>
            </a:r>
          </a:p>
          <a:p>
            <a:r>
              <a:rPr lang="en-GB" dirty="0"/>
              <a:t>FOR EACH … GENERATE</a:t>
            </a:r>
          </a:p>
          <a:p>
            <a:r>
              <a:rPr lang="en-GB" dirty="0"/>
              <a:t>ORDER</a:t>
            </a:r>
          </a:p>
          <a:p>
            <a:r>
              <a:rPr lang="en-GB" dirty="0"/>
              <a:t>JOIN</a:t>
            </a:r>
          </a:p>
        </p:txBody>
      </p:sp>
      <p:sp>
        <p:nvSpPr>
          <p:cNvPr id="6" name="Content Placeholder 5"/>
          <p:cNvSpPr>
            <a:spLocks noGrp="1"/>
          </p:cNvSpPr>
          <p:nvPr>
            <p:ph sz="quarter" idx="4"/>
          </p:nvPr>
        </p:nvSpPr>
        <p:spPr>
          <a:xfrm>
            <a:off x="6275742" y="2066192"/>
            <a:ext cx="5619121" cy="4258410"/>
          </a:xfrm>
        </p:spPr>
        <p:txBody>
          <a:bodyPr/>
          <a:lstStyle/>
          <a:p>
            <a:r>
              <a:rPr lang="en-GB" dirty="0"/>
              <a:t>GROUP</a:t>
            </a:r>
          </a:p>
          <a:p>
            <a:r>
              <a:rPr lang="en-GB" dirty="0"/>
              <a:t>FLATTEN</a:t>
            </a:r>
          </a:p>
          <a:p>
            <a:r>
              <a:rPr lang="en-GB" dirty="0"/>
              <a:t>LIMIT</a:t>
            </a:r>
          </a:p>
          <a:p>
            <a:r>
              <a:rPr lang="en-GB" dirty="0"/>
              <a:t>DUMP</a:t>
            </a:r>
          </a:p>
          <a:p>
            <a:r>
              <a:rPr lang="en-GB" dirty="0"/>
              <a:t>STORE</a:t>
            </a:r>
            <a:endParaRPr lang="en-US" dirty="0"/>
          </a:p>
        </p:txBody>
      </p:sp>
      <p:sp>
        <p:nvSpPr>
          <p:cNvPr id="2" name="Title 1"/>
          <p:cNvSpPr>
            <a:spLocks noGrp="1"/>
          </p:cNvSpPr>
          <p:nvPr>
            <p:ph type="title"/>
          </p:nvPr>
        </p:nvSpPr>
        <p:spPr/>
        <p:txBody>
          <a:bodyPr/>
          <a:lstStyle/>
          <a:p>
            <a:r>
              <a:rPr lang="en-GB" dirty="0"/>
              <a:t>Common Pig Latin Operations</a:t>
            </a:r>
            <a:endParaRPr lang="en-US" dirty="0"/>
          </a:p>
        </p:txBody>
      </p:sp>
    </p:spTree>
    <p:extLst>
      <p:ext uri="{BB962C8B-B14F-4D97-AF65-F5344CB8AC3E}">
        <p14:creationId xmlns:p14="http://schemas.microsoft.com/office/powerpoint/2010/main" val="59310303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a:t>Pig Latin and Map/Reduce</a:t>
            </a:r>
            <a:endParaRPr lang="en-US" dirty="0"/>
          </a:p>
        </p:txBody>
      </p:sp>
      <p:sp>
        <p:nvSpPr>
          <p:cNvPr id="6" name="Content Placeholder 5"/>
          <p:cNvSpPr>
            <a:spLocks noGrp="1"/>
          </p:cNvSpPr>
          <p:nvPr>
            <p:ph sz="quarter" idx="10"/>
          </p:nvPr>
        </p:nvSpPr>
        <p:spPr>
          <a:xfrm>
            <a:off x="379413" y="1388226"/>
            <a:ext cx="11525250" cy="4414697"/>
          </a:xfrm>
        </p:spPr>
        <p:txBody>
          <a:bodyPr/>
          <a:lstStyle/>
          <a:p>
            <a:r>
              <a:rPr lang="en-GB" dirty="0"/>
              <a:t>Pig generates Map/Reduce code from Pig Latin</a:t>
            </a:r>
          </a:p>
          <a:p>
            <a:r>
              <a:rPr lang="en-GB" dirty="0"/>
              <a:t>Map/Reduce jobs are generated on:</a:t>
            </a:r>
          </a:p>
          <a:p>
            <a:pPr lvl="1"/>
            <a:r>
              <a:rPr lang="en-GB" dirty="0"/>
              <a:t>DUMP</a:t>
            </a:r>
          </a:p>
          <a:p>
            <a:pPr lvl="1"/>
            <a:r>
              <a:rPr lang="en-GB" dirty="0"/>
              <a:t>STORE</a:t>
            </a:r>
            <a:endParaRPr lang="en-US" dirty="0"/>
          </a:p>
        </p:txBody>
      </p:sp>
      <p:sp>
        <p:nvSpPr>
          <p:cNvPr id="8" name="Rectangle 7"/>
          <p:cNvSpPr/>
          <p:nvPr/>
        </p:nvSpPr>
        <p:spPr>
          <a:xfrm>
            <a:off x="291121" y="3870436"/>
            <a:ext cx="10699264" cy="156966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Readings = LOAD '/weather/data.txt' USING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PigStorage</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S (date,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temp:long</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GroupedReading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 GROUP Readings BY date;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GroupedAvg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 FOREACH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GroupedReading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GENERATE group, AVG(</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Readings.temp</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S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avgtemp</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AvgWeather</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 FOREACH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GroupedAvg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GENERATE FLATTEN(group) as date,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avgtemp</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SortedResults</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 ORDER </a:t>
            </a:r>
            <a:r>
              <a:rPr kumimoji="0" lang="en-US" sz="16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AvgWeather</a:t>
            </a:r>
            <a:r>
              <a:rPr kumimoji="0" lang="en-US" sz="16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BY date ASC;</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STORE </a:t>
            </a:r>
            <a:r>
              <a:rPr kumimoji="0" lang="en-US" sz="1600" b="1"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SortedResults</a:t>
            </a:r>
            <a:r>
              <a:rPr kumimoji="0" lang="en-US" sz="1600" b="1"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INTO '/weather/summary';</a:t>
            </a:r>
          </a:p>
        </p:txBody>
      </p:sp>
      <p:sp>
        <p:nvSpPr>
          <p:cNvPr id="9" name="Rounded Rectangular Callout 8"/>
          <p:cNvSpPr/>
          <p:nvPr/>
        </p:nvSpPr>
        <p:spPr>
          <a:xfrm>
            <a:off x="7983415" y="5231423"/>
            <a:ext cx="2479431" cy="967154"/>
          </a:xfrm>
          <a:prstGeom prst="wedgeRoundRectCallout">
            <a:avLst>
              <a:gd name="adj1" fmla="val -137145"/>
              <a:gd name="adj2" fmla="val -47500"/>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ysClr val="windowText" lastClr="000000"/>
                </a:solidFill>
                <a:effectLst/>
                <a:uLnTx/>
                <a:uFillTx/>
              </a:rPr>
              <a:t>Map/Reduce code generated here</a:t>
            </a:r>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0268543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Pig Summary</a:t>
            </a:r>
          </a:p>
        </p:txBody>
      </p:sp>
      <p:sp>
        <p:nvSpPr>
          <p:cNvPr id="3" name="Content Placeholder 2"/>
          <p:cNvSpPr>
            <a:spLocks noGrp="1"/>
          </p:cNvSpPr>
          <p:nvPr>
            <p:ph sz="quarter" idx="10"/>
          </p:nvPr>
        </p:nvSpPr>
        <p:spPr>
          <a:xfrm>
            <a:off x="379413" y="1388226"/>
            <a:ext cx="9027052" cy="5290388"/>
          </a:xfrm>
        </p:spPr>
        <p:txBody>
          <a:bodyPr/>
          <a:lstStyle/>
          <a:p>
            <a:r>
              <a:rPr lang="en-GB" dirty="0"/>
              <a:t>Pig Latin is an extensive language, and easier than writing custom Map/Reduce classes</a:t>
            </a:r>
          </a:p>
          <a:p>
            <a:r>
              <a:rPr lang="en-GB" dirty="0"/>
              <a:t>Pig suits scenarios where data can be processed as a series of transformations</a:t>
            </a:r>
          </a:p>
          <a:p>
            <a:r>
              <a:rPr lang="en-GB" dirty="0"/>
              <a:t>You can run Pig Latin statements and scripts from PowerShell</a:t>
            </a:r>
          </a:p>
        </p:txBody>
      </p:sp>
    </p:spTree>
    <p:extLst>
      <p:ext uri="{BB962C8B-B14F-4D97-AF65-F5344CB8AC3E}">
        <p14:creationId xmlns:p14="http://schemas.microsoft.com/office/powerpoint/2010/main" val="192250346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Big Data Processing Summary</a:t>
            </a:r>
          </a:p>
        </p:txBody>
      </p:sp>
      <p:sp>
        <p:nvSpPr>
          <p:cNvPr id="3" name="Content Placeholder 2"/>
          <p:cNvSpPr>
            <a:spLocks noGrp="1"/>
          </p:cNvSpPr>
          <p:nvPr>
            <p:ph sz="quarter" idx="10"/>
          </p:nvPr>
        </p:nvSpPr>
        <p:spPr>
          <a:xfrm>
            <a:off x="379413" y="1388226"/>
            <a:ext cx="9027052" cy="5290388"/>
          </a:xfrm>
        </p:spPr>
        <p:txBody>
          <a:bodyPr/>
          <a:lstStyle/>
          <a:p>
            <a:r>
              <a:rPr lang="en-GB" dirty="0"/>
              <a:t>Design processes that are repeatable with minimal dependencies</a:t>
            </a:r>
          </a:p>
          <a:p>
            <a:r>
              <a:rPr lang="en-GB" dirty="0"/>
              <a:t>Use </a:t>
            </a:r>
            <a:r>
              <a:rPr lang="en-GB" dirty="0" err="1"/>
              <a:t>HCatalog</a:t>
            </a:r>
            <a:r>
              <a:rPr lang="en-GB" dirty="0"/>
              <a:t> to abstract data storage location and schema</a:t>
            </a:r>
          </a:p>
          <a:p>
            <a:r>
              <a:rPr lang="en-GB" dirty="0"/>
              <a:t>Automate Big Data processing:</a:t>
            </a:r>
          </a:p>
          <a:p>
            <a:pPr lvl="1"/>
            <a:r>
              <a:rPr lang="en-GB" dirty="0"/>
              <a:t>PowerShell</a:t>
            </a:r>
          </a:p>
          <a:p>
            <a:pPr lvl="1"/>
            <a:r>
              <a:rPr lang="en-GB" dirty="0"/>
              <a:t>Microsoft Hadoop .NET SDK</a:t>
            </a:r>
          </a:p>
          <a:p>
            <a:pPr lvl="1"/>
            <a:r>
              <a:rPr lang="en-GB" dirty="0" err="1"/>
              <a:t>Oozie</a:t>
            </a:r>
            <a:endParaRPr lang="en-GB" dirty="0"/>
          </a:p>
        </p:txBody>
      </p:sp>
    </p:spTree>
    <p:extLst>
      <p:ext uri="{BB962C8B-B14F-4D97-AF65-F5344CB8AC3E}">
        <p14:creationId xmlns:p14="http://schemas.microsoft.com/office/powerpoint/2010/main" val="20921408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1122" y="86481"/>
            <a:ext cx="10515600" cy="1325563"/>
          </a:xfrm>
        </p:spPr>
        <p:txBody>
          <a:bodyPr/>
          <a:lstStyle/>
          <a:p>
            <a:r>
              <a:rPr lang="en-US" dirty="0"/>
              <a:t>In this module </a:t>
            </a:r>
          </a:p>
        </p:txBody>
      </p:sp>
      <p:graphicFrame>
        <p:nvGraphicFramePr>
          <p:cNvPr id="14" name="Content Placeholder 13"/>
          <p:cNvGraphicFramePr>
            <a:graphicFrameLocks noGrp="1"/>
          </p:cNvGraphicFramePr>
          <p:nvPr>
            <p:ph sz="quarter" idx="10"/>
            <p:extLst>
              <p:ext uri="{D42A27DB-BD31-4B8C-83A1-F6EECF244321}">
                <p14:modId xmlns:p14="http://schemas.microsoft.com/office/powerpoint/2010/main" val="2001105717"/>
              </p:ext>
            </p:extLst>
          </p:nvPr>
        </p:nvGraphicFramePr>
        <p:xfrm>
          <a:off x="379413" y="1387475"/>
          <a:ext cx="11525250" cy="52911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999434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a:t>
            </a:r>
          </a:p>
        </p:txBody>
      </p:sp>
      <p:sp>
        <p:nvSpPr>
          <p:cNvPr id="3" name="Content Placeholder 2"/>
          <p:cNvSpPr>
            <a:spLocks noGrp="1"/>
          </p:cNvSpPr>
          <p:nvPr>
            <p:ph sz="quarter" idx="10"/>
          </p:nvPr>
        </p:nvSpPr>
        <p:spPr/>
        <p:txBody>
          <a:bodyPr/>
          <a:lstStyle/>
          <a:p>
            <a:r>
              <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rPr>
              <a:t>Protect data at rest and in motion </a:t>
            </a:r>
            <a:br>
              <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rPr>
              <a:t>with secure authentication</a:t>
            </a:r>
          </a:p>
          <a:p>
            <a:r>
              <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rPr>
              <a:t>Leverage local security policies and features</a:t>
            </a:r>
          </a:p>
          <a:p>
            <a:r>
              <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rPr>
              <a:t>Employ a robust auditing and </a:t>
            </a:r>
            <a:br>
              <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rPr>
            </a:br>
            <a:r>
              <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rPr>
              <a:t>monitoring process </a:t>
            </a:r>
          </a:p>
          <a:p>
            <a:r>
              <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rPr>
              <a:t>Remove non-essential sensitive data</a:t>
            </a:r>
          </a:p>
          <a:p>
            <a:r>
              <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rPr>
              <a:t>Encrypt essential sensitive data</a:t>
            </a:r>
          </a:p>
          <a:p>
            <a:endPar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a:p>
            <a:endParaRPr lang="en-IN"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a:p>
            <a:endParaRPr lang="en-US" dirty="0"/>
          </a:p>
        </p:txBody>
      </p:sp>
      <p:sp>
        <p:nvSpPr>
          <p:cNvPr id="5" name="Slide Number Placeholder 4"/>
          <p:cNvSpPr>
            <a:spLocks noGrp="1"/>
          </p:cNvSpPr>
          <p:nvPr>
            <p:ph type="sldNum" sz="quarter" idx="4294967295"/>
          </p:nvPr>
        </p:nvSpPr>
        <p:spPr>
          <a:xfrm>
            <a:off x="11636375" y="6437313"/>
            <a:ext cx="555625" cy="134937"/>
          </a:xfrm>
          <a:prstGeom prst="rect">
            <a:avLst/>
          </a:prstGeom>
        </p:spPr>
        <p:txBody>
          <a:bodyPr/>
          <a:lstStyle/>
          <a:p>
            <a:pPr defTabSz="896386" fontAlgn="auto">
              <a:spcBef>
                <a:spcPts val="0"/>
              </a:spcBef>
              <a:spcAft>
                <a:spcPts val="0"/>
              </a:spcAft>
              <a:defRPr/>
            </a:pPr>
            <a:fld id="{F8A0AC42-AA1D-4944-8D96-660DE70C7E1B}" type="slidenum">
              <a:rPr lang="en-IN" sz="1765" kern="0">
                <a:solidFill>
                  <a:sysClr val="windowText" lastClr="000000"/>
                </a:solidFill>
              </a:rPr>
              <a:pPr defTabSz="896386" fontAlgn="auto">
                <a:spcBef>
                  <a:spcPts val="0"/>
                </a:spcBef>
                <a:spcAft>
                  <a:spcPts val="0"/>
                </a:spcAft>
                <a:defRPr/>
              </a:pPr>
              <a:t>39</a:t>
            </a:fld>
            <a:endParaRPr lang="en-IN" sz="1765" kern="0" dirty="0">
              <a:solidFill>
                <a:sysClr val="windowText" lastClr="000000"/>
              </a:solidFill>
            </a:endParaRPr>
          </a:p>
        </p:txBody>
      </p:sp>
    </p:spTree>
    <p:extLst>
      <p:ext uri="{BB962C8B-B14F-4D97-AF65-F5344CB8AC3E}">
        <p14:creationId xmlns:p14="http://schemas.microsoft.com/office/powerpoint/2010/main" val="3365614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icrosoft Tools for Big Data Batch Process</a:t>
            </a:r>
          </a:p>
        </p:txBody>
      </p:sp>
      <p:sp>
        <p:nvSpPr>
          <p:cNvPr id="3" name="Content Placeholder 2"/>
          <p:cNvSpPr>
            <a:spLocks noGrp="1"/>
          </p:cNvSpPr>
          <p:nvPr>
            <p:ph sz="quarter" idx="10"/>
          </p:nvPr>
        </p:nvSpPr>
        <p:spPr/>
        <p:txBody>
          <a:bodyPr/>
          <a:lstStyle/>
          <a:p>
            <a:r>
              <a:rPr lang="en-US" dirty="0"/>
              <a:t>Microsoft Azure HDInsight</a:t>
            </a:r>
          </a:p>
          <a:p>
            <a:r>
              <a:rPr lang="en-GB" dirty="0"/>
              <a:t>Azure Batch</a:t>
            </a:r>
          </a:p>
          <a:p>
            <a:r>
              <a:rPr lang="en-US" dirty="0"/>
              <a:t>Azure SQL Data Warehouse</a:t>
            </a:r>
          </a:p>
          <a:p>
            <a:r>
              <a:rPr lang="en-US" dirty="0"/>
              <a:t>Azure SQL Database</a:t>
            </a:r>
          </a:p>
          <a:p>
            <a:r>
              <a:rPr lang="en-US" dirty="0"/>
              <a:t>SQL Server </a:t>
            </a:r>
            <a:r>
              <a:rPr lang="en-US" dirty="0" err="1"/>
              <a:t>PolyBase</a:t>
            </a:r>
            <a:endParaRPr lang="en-US" dirty="0"/>
          </a:p>
          <a:p>
            <a:r>
              <a:rPr lang="en-GB" dirty="0"/>
              <a:t>SQL Server Integration Services</a:t>
            </a:r>
          </a:p>
          <a:p>
            <a:r>
              <a:rPr lang="en-GB" dirty="0"/>
              <a:t>Azure Storage</a:t>
            </a:r>
          </a:p>
          <a:p>
            <a:r>
              <a:rPr lang="en-GB" dirty="0"/>
              <a:t>Azure </a:t>
            </a:r>
            <a:r>
              <a:rPr lang="en-GB" dirty="0" err="1"/>
              <a:t>Datalake</a:t>
            </a:r>
            <a:endParaRPr lang="en-GB" dirty="0"/>
          </a:p>
        </p:txBody>
      </p:sp>
    </p:spTree>
    <p:extLst>
      <p:ext uri="{BB962C8B-B14F-4D97-AF65-F5344CB8AC3E}">
        <p14:creationId xmlns:p14="http://schemas.microsoft.com/office/powerpoint/2010/main" val="18690633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542" y="111332"/>
            <a:ext cx="11524432" cy="540798"/>
          </a:xfrm>
        </p:spPr>
        <p:txBody>
          <a:bodyPr>
            <a:normAutofit/>
          </a:bodyPr>
          <a:lstStyle/>
          <a:p>
            <a:r>
              <a:rPr lang="en-US" sz="3600" dirty="0"/>
              <a:t>Resources</a:t>
            </a:r>
          </a:p>
        </p:txBody>
      </p:sp>
      <p:sp>
        <p:nvSpPr>
          <p:cNvPr id="3" name="Content Placeholder 2"/>
          <p:cNvSpPr>
            <a:spLocks noGrp="1"/>
          </p:cNvSpPr>
          <p:nvPr>
            <p:ph sz="quarter" idx="10"/>
          </p:nvPr>
        </p:nvSpPr>
        <p:spPr>
          <a:xfrm>
            <a:off x="300724" y="819842"/>
            <a:ext cx="11525250" cy="5920286"/>
          </a:xfrm>
        </p:spPr>
        <p:txBody>
          <a:bodyPr/>
          <a:lstStyle/>
          <a:p>
            <a:pPr marL="0" indent="0">
              <a:buNone/>
            </a:pPr>
            <a:endParaRPr lang="en-US" sz="1200" b="1" dirty="0">
              <a:latin typeface="+mn-lt"/>
            </a:endParaRPr>
          </a:p>
          <a:p>
            <a:pPr lvl="1">
              <a:buFont typeface="+mj-lt"/>
              <a:buAutoNum type="arabicPeriod"/>
            </a:pPr>
            <a:r>
              <a:rPr lang="en-US" sz="1200" dirty="0">
                <a:latin typeface="+mn-lt"/>
              </a:rPr>
              <a:t>For more information visit  </a:t>
            </a:r>
            <a:r>
              <a:rPr lang="en-US" sz="1200" dirty="0">
                <a:latin typeface="+mn-lt"/>
                <a:hlinkClick r:id="rId3"/>
              </a:rPr>
              <a:t>http://azure.microsoft.com/en-us/services/hdinsight/</a:t>
            </a:r>
            <a:endParaRPr lang="en-US" sz="1200" dirty="0">
              <a:latin typeface="+mn-lt"/>
            </a:endParaRPr>
          </a:p>
          <a:p>
            <a:pPr lvl="1">
              <a:buFont typeface="+mj-lt"/>
              <a:buAutoNum type="arabicPeriod"/>
            </a:pPr>
            <a:r>
              <a:rPr lang="en-US" sz="1200" dirty="0">
                <a:latin typeface="+mn-lt"/>
              </a:rPr>
              <a:t>Design and Implement Big Data &amp; Advanced Analytics Solutions  </a:t>
            </a:r>
            <a:r>
              <a:rPr lang="en-US" sz="1200" dirty="0">
                <a:latin typeface="+mn-lt"/>
                <a:hlinkClick r:id="rId4"/>
              </a:rPr>
              <a:t>https://mva.microsoft.com/en-US/training-courses/design-and-implement-big-data-advanced-analytics-solutions-16531</a:t>
            </a:r>
            <a:endParaRPr lang="en-US" sz="1200" dirty="0">
              <a:latin typeface="+mn-lt"/>
            </a:endParaRPr>
          </a:p>
          <a:p>
            <a:pPr lvl="1">
              <a:buFont typeface="+mj-lt"/>
              <a:buAutoNum type="arabicPeriod"/>
            </a:pPr>
            <a:r>
              <a:rPr lang="en-US" sz="1200" dirty="0">
                <a:latin typeface="+mn-lt"/>
              </a:rPr>
              <a:t>Learn Hadoop on HDInsight (Linux)  </a:t>
            </a:r>
            <a:r>
              <a:rPr lang="en-US" sz="1200" dirty="0">
                <a:latin typeface="+mn-lt"/>
                <a:hlinkClick r:id="rId5"/>
              </a:rPr>
              <a:t>https://azure.microsoft.com/en-us/documentation/learning-paths/hdinsight-self-guided-hadoop-training/</a:t>
            </a:r>
            <a:endParaRPr lang="en-US" sz="1200" dirty="0">
              <a:latin typeface="+mn-lt"/>
            </a:endParaRPr>
          </a:p>
          <a:p>
            <a:pPr lvl="1">
              <a:buFont typeface="+mj-lt"/>
              <a:buAutoNum type="arabicPeriod"/>
            </a:pPr>
            <a:r>
              <a:rPr lang="en-US" sz="1200" dirty="0">
                <a:latin typeface="+mn-lt"/>
              </a:rPr>
              <a:t>Create Linux-based Hadoop clusters in HDInsight </a:t>
            </a:r>
            <a:r>
              <a:rPr lang="en-US" sz="1200" dirty="0">
                <a:latin typeface="+mn-lt"/>
                <a:hlinkClick r:id="rId6"/>
              </a:rPr>
              <a:t>https://azure.microsoft.com/en-us/documentation/articles/hdinsight-hadoop-provision-linux-clusters/</a:t>
            </a:r>
            <a:endParaRPr lang="en-US" sz="1200" dirty="0">
              <a:latin typeface="+mn-lt"/>
            </a:endParaRPr>
          </a:p>
          <a:p>
            <a:pPr lvl="1">
              <a:buFont typeface="+mj-lt"/>
              <a:buAutoNum type="arabicPeriod"/>
            </a:pPr>
            <a:r>
              <a:rPr lang="en-US" sz="1200" dirty="0">
                <a:latin typeface="+mn-lt"/>
              </a:rPr>
              <a:t>Azure Batch learning path </a:t>
            </a:r>
            <a:r>
              <a:rPr lang="en-US" sz="1200" dirty="0">
                <a:latin typeface="+mn-lt"/>
                <a:hlinkClick r:id="rId7"/>
              </a:rPr>
              <a:t>https://azure.microsoft.com/en-us/documentation/learning-paths/batch/</a:t>
            </a:r>
            <a:endParaRPr lang="en-US" sz="1200" dirty="0">
              <a:latin typeface="+mn-lt"/>
            </a:endParaRPr>
          </a:p>
          <a:p>
            <a:pPr lvl="1">
              <a:buFont typeface="+mj-lt"/>
              <a:buAutoNum type="arabicPeriod"/>
            </a:pPr>
            <a:r>
              <a:rPr lang="en-US" sz="1200" dirty="0">
                <a:latin typeface="+mn-lt"/>
              </a:rPr>
              <a:t>Use Hive and </a:t>
            </a:r>
            <a:r>
              <a:rPr lang="en-US" sz="1200" dirty="0" err="1">
                <a:latin typeface="+mn-lt"/>
              </a:rPr>
              <a:t>HiveQL</a:t>
            </a:r>
            <a:r>
              <a:rPr lang="en-US" sz="1200" dirty="0">
                <a:latin typeface="+mn-lt"/>
              </a:rPr>
              <a:t> with Hadoop in HDInsight to analyze a sample Apache log4j file </a:t>
            </a:r>
            <a:r>
              <a:rPr lang="en-US" sz="1200" dirty="0">
                <a:latin typeface="+mn-lt"/>
                <a:hlinkClick r:id="rId8"/>
              </a:rPr>
              <a:t>https://azure.microsoft.com/en-us/documentation/articles/hdinsight-use-hive/</a:t>
            </a:r>
            <a:endParaRPr lang="en-US" sz="1200" dirty="0">
              <a:latin typeface="+mn-lt"/>
            </a:endParaRPr>
          </a:p>
          <a:p>
            <a:pPr lvl="1">
              <a:buFont typeface="+mj-lt"/>
              <a:buAutoNum type="arabicPeriod"/>
            </a:pPr>
            <a:r>
              <a:rPr lang="en-US" sz="1200" dirty="0">
                <a:latin typeface="+mn-lt"/>
              </a:rPr>
              <a:t>What is </a:t>
            </a:r>
            <a:r>
              <a:rPr lang="en-US" sz="1200" dirty="0" err="1">
                <a:latin typeface="+mn-lt"/>
              </a:rPr>
              <a:t>HBase</a:t>
            </a:r>
            <a:r>
              <a:rPr lang="en-US" sz="1200" dirty="0">
                <a:latin typeface="+mn-lt"/>
              </a:rPr>
              <a:t> in HDInsight: A NoSQL database that provides </a:t>
            </a:r>
            <a:r>
              <a:rPr lang="en-US" sz="1200" dirty="0" err="1">
                <a:latin typeface="+mn-lt"/>
              </a:rPr>
              <a:t>BigTable</a:t>
            </a:r>
            <a:r>
              <a:rPr lang="en-US" sz="1200" dirty="0">
                <a:latin typeface="+mn-lt"/>
              </a:rPr>
              <a:t>-like capabilities for Hadoop </a:t>
            </a:r>
            <a:r>
              <a:rPr lang="en-US" sz="1200" dirty="0">
                <a:latin typeface="+mn-lt"/>
                <a:hlinkClick r:id="rId9"/>
              </a:rPr>
              <a:t>https://azure.microsoft.com/en-us/documentation/articles/hdinsight-hbase-overview/</a:t>
            </a:r>
            <a:endParaRPr lang="en-US" sz="1200" dirty="0">
              <a:latin typeface="+mn-lt"/>
            </a:endParaRPr>
          </a:p>
          <a:p>
            <a:pPr lvl="1">
              <a:buFont typeface="+mj-lt"/>
              <a:buAutoNum type="arabicPeriod"/>
            </a:pPr>
            <a:endParaRPr lang="en-US" sz="1200" dirty="0">
              <a:latin typeface="+mn-lt"/>
            </a:endParaRPr>
          </a:p>
          <a:p>
            <a:pPr lvl="1">
              <a:buFont typeface="+mj-lt"/>
              <a:buAutoNum type="arabicPeriod"/>
            </a:pPr>
            <a:endParaRPr lang="en-US" sz="1200" dirty="0">
              <a:latin typeface="+mn-lt"/>
            </a:endParaRPr>
          </a:p>
          <a:p>
            <a:pPr lvl="1">
              <a:buFont typeface="+mj-lt"/>
              <a:buAutoNum type="arabicPeriod"/>
            </a:pPr>
            <a:endParaRPr lang="en-US" sz="1200" dirty="0"/>
          </a:p>
          <a:p>
            <a:pPr lvl="1"/>
            <a:endParaRPr lang="en-US" sz="1200" dirty="0">
              <a:latin typeface="+mn-lt"/>
            </a:endParaRPr>
          </a:p>
          <a:p>
            <a:pPr marL="457046" lvl="1" indent="0">
              <a:buNone/>
            </a:pPr>
            <a:endParaRPr lang="en-US" sz="1200" dirty="0">
              <a:latin typeface="+mn-lt"/>
            </a:endParaRPr>
          </a:p>
          <a:p>
            <a:pPr marL="457046" lvl="1" indent="0">
              <a:buNone/>
            </a:pPr>
            <a:endParaRPr lang="en-US" sz="1200" dirty="0">
              <a:latin typeface="+mn-lt"/>
            </a:endParaRPr>
          </a:p>
          <a:p>
            <a:pPr marL="457046" lvl="1" indent="0">
              <a:buNone/>
            </a:pPr>
            <a:endParaRPr lang="en-US" sz="1200" dirty="0">
              <a:latin typeface="+mn-lt"/>
            </a:endParaRPr>
          </a:p>
          <a:p>
            <a:pPr lvl="1"/>
            <a:endParaRPr lang="en-US" sz="1200" dirty="0">
              <a:latin typeface="+mn-lt"/>
            </a:endParaRPr>
          </a:p>
          <a:p>
            <a:endParaRPr lang="en-US" sz="1400" dirty="0">
              <a:latin typeface="+mn-lt"/>
            </a:endParaRPr>
          </a:p>
        </p:txBody>
      </p:sp>
    </p:spTree>
    <p:extLst>
      <p:ext uri="{BB962C8B-B14F-4D97-AF65-F5344CB8AC3E}">
        <p14:creationId xmlns:p14="http://schemas.microsoft.com/office/powerpoint/2010/main" val="2557989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542" y="111332"/>
            <a:ext cx="11524432" cy="540798"/>
          </a:xfrm>
        </p:spPr>
        <p:txBody>
          <a:bodyPr>
            <a:normAutofit/>
          </a:bodyPr>
          <a:lstStyle/>
          <a:p>
            <a:r>
              <a:rPr lang="en-US" sz="3600" dirty="0"/>
              <a:t>Demo</a:t>
            </a:r>
          </a:p>
        </p:txBody>
      </p:sp>
      <p:sp>
        <p:nvSpPr>
          <p:cNvPr id="3" name="Content Placeholder 2"/>
          <p:cNvSpPr>
            <a:spLocks noGrp="1"/>
          </p:cNvSpPr>
          <p:nvPr>
            <p:ph sz="quarter" idx="10"/>
          </p:nvPr>
        </p:nvSpPr>
        <p:spPr>
          <a:xfrm>
            <a:off x="300724" y="819842"/>
            <a:ext cx="11525250" cy="5920286"/>
          </a:xfrm>
        </p:spPr>
        <p:txBody>
          <a:bodyPr/>
          <a:lstStyle/>
          <a:p>
            <a:pPr marL="0" indent="0">
              <a:buNone/>
            </a:pPr>
            <a:endParaRPr lang="en-US" sz="1200" b="1" dirty="0">
              <a:latin typeface="+mn-lt"/>
            </a:endParaRPr>
          </a:p>
          <a:p>
            <a:pPr lvl="1">
              <a:buFont typeface="+mj-lt"/>
              <a:buAutoNum type="arabicPeriod"/>
            </a:pPr>
            <a:endParaRPr lang="en-US" sz="1200" dirty="0">
              <a:latin typeface="+mn-lt"/>
            </a:endParaRPr>
          </a:p>
          <a:p>
            <a:pPr lvl="1">
              <a:buFont typeface="+mj-lt"/>
              <a:buAutoNum type="arabicPeriod"/>
            </a:pPr>
            <a:endParaRPr lang="en-US" sz="1200" dirty="0"/>
          </a:p>
          <a:p>
            <a:pPr lvl="1"/>
            <a:endParaRPr lang="en-US" sz="1200" dirty="0">
              <a:latin typeface="+mn-lt"/>
            </a:endParaRPr>
          </a:p>
          <a:p>
            <a:pPr marL="457046" lvl="1" indent="0">
              <a:buNone/>
            </a:pPr>
            <a:endParaRPr lang="en-US" sz="1200" dirty="0">
              <a:latin typeface="+mn-lt"/>
            </a:endParaRPr>
          </a:p>
          <a:p>
            <a:pPr marL="457046" lvl="1" indent="0">
              <a:buNone/>
            </a:pPr>
            <a:endParaRPr lang="en-US" sz="1200" dirty="0">
              <a:latin typeface="+mn-lt"/>
            </a:endParaRPr>
          </a:p>
          <a:p>
            <a:pPr marL="457046" lvl="1" indent="0">
              <a:buNone/>
            </a:pPr>
            <a:endParaRPr lang="en-US" sz="1200" dirty="0">
              <a:latin typeface="+mn-lt"/>
            </a:endParaRPr>
          </a:p>
          <a:p>
            <a:pPr lvl="1"/>
            <a:endParaRPr lang="en-US" sz="1200" dirty="0">
              <a:latin typeface="+mn-lt"/>
            </a:endParaRPr>
          </a:p>
          <a:p>
            <a:endParaRPr lang="en-US" sz="1400" dirty="0">
              <a:latin typeface="+mn-lt"/>
            </a:endParaRPr>
          </a:p>
        </p:txBody>
      </p:sp>
    </p:spTree>
    <p:extLst>
      <p:ext uri="{BB962C8B-B14F-4D97-AF65-F5344CB8AC3E}">
        <p14:creationId xmlns:p14="http://schemas.microsoft.com/office/powerpoint/2010/main" val="180563453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542" y="111332"/>
            <a:ext cx="11524432" cy="540798"/>
          </a:xfrm>
        </p:spPr>
        <p:txBody>
          <a:bodyPr>
            <a:normAutofit/>
          </a:bodyPr>
          <a:lstStyle/>
          <a:p>
            <a:r>
              <a:rPr lang="en-US" sz="3600" dirty="0"/>
              <a:t>Appendix</a:t>
            </a:r>
          </a:p>
        </p:txBody>
      </p:sp>
      <p:sp>
        <p:nvSpPr>
          <p:cNvPr id="3" name="Content Placeholder 2"/>
          <p:cNvSpPr>
            <a:spLocks noGrp="1"/>
          </p:cNvSpPr>
          <p:nvPr>
            <p:ph sz="quarter" idx="10"/>
          </p:nvPr>
        </p:nvSpPr>
        <p:spPr>
          <a:xfrm>
            <a:off x="300724" y="819842"/>
            <a:ext cx="11525250" cy="5920286"/>
          </a:xfrm>
        </p:spPr>
        <p:txBody>
          <a:bodyPr/>
          <a:lstStyle/>
          <a:p>
            <a:pPr marL="0" indent="0">
              <a:buNone/>
            </a:pPr>
            <a:endParaRPr lang="en-US" sz="1200" b="1" dirty="0">
              <a:latin typeface="+mn-lt"/>
            </a:endParaRPr>
          </a:p>
          <a:p>
            <a:pPr lvl="1">
              <a:buFont typeface="+mj-lt"/>
              <a:buAutoNum type="arabicPeriod"/>
            </a:pPr>
            <a:endParaRPr lang="en-US" sz="1200" dirty="0">
              <a:latin typeface="+mn-lt"/>
            </a:endParaRPr>
          </a:p>
          <a:p>
            <a:pPr lvl="1">
              <a:buFont typeface="+mj-lt"/>
              <a:buAutoNum type="arabicPeriod"/>
            </a:pPr>
            <a:endParaRPr lang="en-US" sz="1200" dirty="0"/>
          </a:p>
          <a:p>
            <a:pPr lvl="1"/>
            <a:endParaRPr lang="en-US" sz="1200" dirty="0">
              <a:latin typeface="+mn-lt"/>
            </a:endParaRPr>
          </a:p>
          <a:p>
            <a:pPr marL="457046" lvl="1" indent="0">
              <a:buNone/>
            </a:pPr>
            <a:endParaRPr lang="en-US" sz="1200" dirty="0">
              <a:latin typeface="+mn-lt"/>
            </a:endParaRPr>
          </a:p>
          <a:p>
            <a:pPr marL="457046" lvl="1" indent="0">
              <a:buNone/>
            </a:pPr>
            <a:endParaRPr lang="en-US" sz="1200" dirty="0">
              <a:latin typeface="+mn-lt"/>
            </a:endParaRPr>
          </a:p>
          <a:p>
            <a:pPr marL="457046" lvl="1" indent="0">
              <a:buNone/>
            </a:pPr>
            <a:endParaRPr lang="en-US" sz="1200" dirty="0">
              <a:latin typeface="+mn-lt"/>
            </a:endParaRPr>
          </a:p>
          <a:p>
            <a:pPr lvl="1"/>
            <a:endParaRPr lang="en-US" sz="1200" dirty="0">
              <a:latin typeface="+mn-lt"/>
            </a:endParaRPr>
          </a:p>
          <a:p>
            <a:endParaRPr lang="en-US" sz="1400" dirty="0">
              <a:latin typeface="+mn-lt"/>
            </a:endParaRPr>
          </a:p>
        </p:txBody>
      </p:sp>
    </p:spTree>
    <p:extLst>
      <p:ext uri="{BB962C8B-B14F-4D97-AF65-F5344CB8AC3E}">
        <p14:creationId xmlns:p14="http://schemas.microsoft.com/office/powerpoint/2010/main" val="102478489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705" dirty="0"/>
              <a:t>Optimize for speed with ORC File Format</a:t>
            </a:r>
          </a:p>
        </p:txBody>
      </p:sp>
      <p:sp>
        <p:nvSpPr>
          <p:cNvPr id="8" name="Slide Number Placeholder 7"/>
          <p:cNvSpPr>
            <a:spLocks noGrp="1"/>
          </p:cNvSpPr>
          <p:nvPr>
            <p:ph type="sldNum" sz="quarter" idx="4294967295"/>
          </p:nvPr>
        </p:nvSpPr>
        <p:spPr>
          <a:xfrm>
            <a:off x="11636375" y="6437313"/>
            <a:ext cx="555625" cy="134937"/>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8A0AC42-AA1D-4944-8D96-660DE70C7E1B}" type="slidenum">
              <a:rPr kumimoji="0" lang="en-IN" sz="1800" b="0" i="0" u="none" strike="noStrike" kern="0" cap="none" spc="0" normalizeH="0" baseline="0" noProof="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IN" sz="1800" b="0" i="0" u="none" strike="noStrike" kern="0" cap="none" spc="0" normalizeH="0" baseline="0" noProof="0" dirty="0">
              <a:ln>
                <a:noFill/>
              </a:ln>
              <a:solidFill>
                <a:sysClr val="windowText" lastClr="000000"/>
              </a:solidFill>
              <a:effectLst/>
              <a:uLnTx/>
              <a:uFillTx/>
            </a:endParaRPr>
          </a:p>
        </p:txBody>
      </p:sp>
      <p:sp>
        <p:nvSpPr>
          <p:cNvPr id="12" name="Content Placeholder 11"/>
          <p:cNvSpPr>
            <a:spLocks noGrp="1"/>
          </p:cNvSpPr>
          <p:nvPr>
            <p:ph sz="quarter" idx="10"/>
          </p:nvPr>
        </p:nvSpPr>
        <p:spPr>
          <a:xfrm>
            <a:off x="379514" y="1059617"/>
            <a:ext cx="11525250" cy="5290388"/>
          </a:xfrm>
        </p:spPr>
        <p:txBody>
          <a:bodyPr/>
          <a:lstStyle/>
          <a:p>
            <a:r>
              <a:rPr lang="en-US" dirty="0"/>
              <a:t>ORC (Optimized Row Columnar)</a:t>
            </a:r>
          </a:p>
          <a:p>
            <a:pPr lvl="1"/>
            <a:r>
              <a:rPr lang="en-US" dirty="0"/>
              <a:t>improves performance of reading, writing and running Hive queries</a:t>
            </a:r>
          </a:p>
          <a:p>
            <a:pPr lvl="1"/>
            <a:r>
              <a:rPr lang="en-US" dirty="0"/>
              <a:t>Provides an index allowing you to skip rows to efficiently seek data in a large table</a:t>
            </a:r>
          </a:p>
          <a:p>
            <a:pPr lvl="1"/>
            <a:r>
              <a:rPr lang="en-US" dirty="0"/>
              <a:t>ORC</a:t>
            </a:r>
          </a:p>
          <a:p>
            <a:pPr lvl="2"/>
            <a:r>
              <a:rPr lang="en-US" sz="2800" dirty="0"/>
              <a:t>“CREATE TABLE </a:t>
            </a:r>
            <a:r>
              <a:rPr lang="en-US" sz="2800" dirty="0" err="1"/>
              <a:t>tablename</a:t>
            </a:r>
            <a:r>
              <a:rPr lang="en-US" sz="2800" dirty="0"/>
              <a:t> stored as orc” </a:t>
            </a:r>
            <a:br>
              <a:rPr lang="en-US" sz="2800" dirty="0"/>
            </a:br>
            <a:r>
              <a:rPr lang="en-US" sz="2800" dirty="0"/>
              <a:t>“ALTER TABLE </a:t>
            </a:r>
            <a:r>
              <a:rPr lang="en-US" sz="2800" dirty="0" err="1"/>
              <a:t>tablename</a:t>
            </a:r>
            <a:r>
              <a:rPr lang="en-US" sz="2800" dirty="0"/>
              <a:t> SET FILEFORM AT ORC;</a:t>
            </a:r>
          </a:p>
          <a:p>
            <a:pPr lvl="1"/>
            <a:endParaRPr lang="en-US" dirty="0">
              <a:solidFill>
                <a:srgbClr val="505050"/>
              </a:solidFill>
              <a:ea typeface="ＭＳ Ｐゴシック" charset="0"/>
              <a:cs typeface="ＭＳ Ｐゴシック" charset="0"/>
            </a:endParaRPr>
          </a:p>
          <a:p>
            <a:pPr marL="457046" lvl="1" indent="0">
              <a:buNone/>
            </a:pPr>
            <a:endParaRPr lang="en-US" dirty="0">
              <a:solidFill>
                <a:srgbClr val="505050"/>
              </a:solidFill>
              <a:ea typeface="ＭＳ Ｐゴシック" charset="0"/>
              <a:cs typeface="ＭＳ Ｐゴシック" charset="0"/>
            </a:endParaRPr>
          </a:p>
          <a:p>
            <a:pPr lvl="1"/>
            <a:endParaRPr lang="en-US" dirty="0"/>
          </a:p>
        </p:txBody>
      </p:sp>
    </p:spTree>
    <p:extLst>
      <p:ext uri="{BB962C8B-B14F-4D97-AF65-F5344CB8AC3E}">
        <p14:creationId xmlns:p14="http://schemas.microsoft.com/office/powerpoint/2010/main" val="83115486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a:t>HBase</a:t>
            </a:r>
            <a:r>
              <a:rPr lang="en-GB" dirty="0"/>
              <a:t> and </a:t>
            </a:r>
            <a:r>
              <a:rPr lang="en-GB" dirty="0" err="1"/>
              <a:t>HCatalog</a:t>
            </a:r>
            <a:endParaRPr lang="en-US" dirty="0"/>
          </a:p>
        </p:txBody>
      </p:sp>
      <p:sp>
        <p:nvSpPr>
          <p:cNvPr id="3" name="Content Placeholder 2"/>
          <p:cNvSpPr>
            <a:spLocks noGrp="1"/>
          </p:cNvSpPr>
          <p:nvPr>
            <p:ph sz="quarter" idx="10"/>
          </p:nvPr>
        </p:nvSpPr>
        <p:spPr>
          <a:xfrm>
            <a:off x="379514" y="812800"/>
            <a:ext cx="11393487" cy="5535614"/>
          </a:xfrm>
        </p:spPr>
        <p:txBody>
          <a:bodyPr/>
          <a:lstStyle/>
          <a:p>
            <a:r>
              <a:rPr lang="en-US" dirty="0"/>
              <a:t>Apache </a:t>
            </a:r>
            <a:r>
              <a:rPr lang="en-US" dirty="0" err="1"/>
              <a:t>HBase</a:t>
            </a:r>
            <a:endParaRPr lang="en-US" dirty="0"/>
          </a:p>
          <a:p>
            <a:pPr lvl="1"/>
            <a:r>
              <a:rPr lang="en-US" dirty="0"/>
              <a:t>A NoSQL database that provides </a:t>
            </a:r>
            <a:r>
              <a:rPr lang="en-US" dirty="0" err="1"/>
              <a:t>BigTable</a:t>
            </a:r>
            <a:r>
              <a:rPr lang="en-US" dirty="0"/>
              <a:t>-like capabilities for Hadoop</a:t>
            </a:r>
          </a:p>
          <a:p>
            <a:r>
              <a:rPr lang="en-US" dirty="0"/>
              <a:t>Apache </a:t>
            </a:r>
            <a:r>
              <a:rPr lang="en-US" dirty="0" err="1"/>
              <a:t>HCatalog</a:t>
            </a:r>
            <a:endParaRPr lang="en-US" dirty="0"/>
          </a:p>
          <a:p>
            <a:pPr lvl="1"/>
            <a:r>
              <a:rPr lang="en-US" dirty="0"/>
              <a:t>is a table and storage management layer for Hadoop that presents users with a relational view of data. </a:t>
            </a:r>
            <a:r>
              <a:rPr lang="en-GB" dirty="0"/>
              <a:t>Enables the contents of folders to be queried as tables, using SQL-like query semantic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1889" y="4140019"/>
            <a:ext cx="4419600" cy="2590800"/>
          </a:xfrm>
          <a:prstGeom prst="rect">
            <a:avLst/>
          </a:prstGeom>
        </p:spPr>
      </p:pic>
      <p:pic>
        <p:nvPicPr>
          <p:cNvPr id="7" name="Picture 6"/>
          <p:cNvPicPr>
            <a:picLocks noChangeAspect="1"/>
          </p:cNvPicPr>
          <p:nvPr/>
        </p:nvPicPr>
        <p:blipFill rotWithShape="1">
          <a:blip r:embed="rId4">
            <a:extLst>
              <a:ext uri="{28A0092B-C50C-407E-A947-70E740481C1C}">
                <a14:useLocalDpi xmlns:a14="http://schemas.microsoft.com/office/drawing/2010/main" val="0"/>
              </a:ext>
            </a:extLst>
          </a:blip>
          <a:srcRect l="10628" t="30515" r="9783" b="14252"/>
          <a:stretch/>
        </p:blipFill>
        <p:spPr>
          <a:xfrm>
            <a:off x="5832478" y="3826751"/>
            <a:ext cx="5579534" cy="2904068"/>
          </a:xfrm>
          <a:prstGeom prst="rect">
            <a:avLst/>
          </a:prstGeom>
        </p:spPr>
      </p:pic>
    </p:spTree>
    <p:extLst>
      <p:ext uri="{BB962C8B-B14F-4D97-AF65-F5344CB8AC3E}">
        <p14:creationId xmlns:p14="http://schemas.microsoft.com/office/powerpoint/2010/main" val="426740670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a:t>
            </a:r>
            <a:r>
              <a:rPr lang="en-US" sz="4400" dirty="0">
                <a:solidFill>
                  <a:srgbClr val="0072C6"/>
                </a:solidFill>
              </a:rPr>
              <a:t> </a:t>
            </a:r>
            <a:r>
              <a:rPr lang="en-US" dirty="0"/>
              <a:t>Storage Comparison</a:t>
            </a:r>
          </a:p>
        </p:txBody>
      </p:sp>
      <p:sp>
        <p:nvSpPr>
          <p:cNvPr id="3" name="Content Placeholder 2"/>
          <p:cNvSpPr>
            <a:spLocks noGrp="1"/>
          </p:cNvSpPr>
          <p:nvPr>
            <p:ph sz="quarter" idx="10"/>
          </p:nvPr>
        </p:nvSpPr>
        <p:spPr/>
        <p:txBody>
          <a:bodyPr/>
          <a:lstStyle/>
          <a:p>
            <a:endParaRPr lang="en-US"/>
          </a:p>
        </p:txBody>
      </p:sp>
      <p:sp>
        <p:nvSpPr>
          <p:cNvPr id="41" name="Rectangle 40"/>
          <p:cNvSpPr/>
          <p:nvPr/>
        </p:nvSpPr>
        <p:spPr bwMode="auto">
          <a:xfrm>
            <a:off x="530563" y="2510149"/>
            <a:ext cx="2223744" cy="3786380"/>
          </a:xfrm>
          <a:prstGeom prst="rect">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2" name="Rectangle 41"/>
          <p:cNvSpPr/>
          <p:nvPr/>
        </p:nvSpPr>
        <p:spPr bwMode="auto">
          <a:xfrm>
            <a:off x="2841361" y="2510149"/>
            <a:ext cx="2223744" cy="3786380"/>
          </a:xfrm>
          <a:prstGeom prst="rect">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 name="Rectangle 42"/>
          <p:cNvSpPr/>
          <p:nvPr/>
        </p:nvSpPr>
        <p:spPr bwMode="auto">
          <a:xfrm>
            <a:off x="5152158" y="2510149"/>
            <a:ext cx="2223744" cy="3786380"/>
          </a:xfrm>
          <a:prstGeom prst="rect">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4" name="Rectangle 43"/>
          <p:cNvSpPr/>
          <p:nvPr/>
        </p:nvSpPr>
        <p:spPr bwMode="auto">
          <a:xfrm>
            <a:off x="7456224" y="2510149"/>
            <a:ext cx="2223744" cy="3786380"/>
          </a:xfrm>
          <a:prstGeom prst="rect">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5" name="Rectangle 44"/>
          <p:cNvSpPr/>
          <p:nvPr/>
        </p:nvSpPr>
        <p:spPr bwMode="auto">
          <a:xfrm>
            <a:off x="9760294" y="2510149"/>
            <a:ext cx="2223744" cy="3786380"/>
          </a:xfrm>
          <a:prstGeom prst="rect">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6" name="Rectangle 45"/>
          <p:cNvSpPr/>
          <p:nvPr/>
        </p:nvSpPr>
        <p:spPr bwMode="auto">
          <a:xfrm>
            <a:off x="2842046" y="1340433"/>
            <a:ext cx="2223059" cy="1182557"/>
          </a:xfrm>
          <a:prstGeom prst="rect">
            <a:avLst/>
          </a:prstGeom>
          <a:solidFill>
            <a:srgbClr val="7F7F7F"/>
          </a:solidFill>
          <a:ln w="9525" cap="flat" cmpd="sng" algn="ctr">
            <a:noFill/>
            <a:prstDash val="solid"/>
            <a:headEnd type="none" w="med" len="med"/>
            <a:tailEnd type="none" w="med" len="med"/>
          </a:ln>
          <a:effectLst/>
        </p:spPr>
        <p:txBody>
          <a:bodyPr rot="0" spcFirstLastPara="0" vertOverflow="overflow" horzOverflow="overflow" vert="horz" wrap="square" lIns="89607" tIns="44802" rIns="89607" bIns="44802" numCol="1" spcCol="0" rtlCol="0" fromWordArt="0" anchor="t" anchorCtr="0" forceAA="0" compatLnSpc="1">
            <a:prstTxWarp prst="textNoShape">
              <a:avLst/>
            </a:prstTxWarp>
            <a:noAutofit/>
          </a:bodyPr>
          <a:lstStyle/>
          <a:p>
            <a:pPr marL="0" marR="0" lvl="0" indent="0" defTabSz="1591583" eaLnBrk="1" fontAlgn="base" latinLnBrk="0" hangingPunct="1">
              <a:lnSpc>
                <a:spcPct val="90000"/>
              </a:lnSpc>
              <a:spcBef>
                <a:spcPts val="0"/>
              </a:spcBef>
              <a:spcAft>
                <a:spcPts val="0"/>
              </a:spcAft>
              <a:buClrTx/>
              <a:buSzTx/>
              <a:buFontTx/>
              <a:buNone/>
              <a:tabLst/>
              <a:defRPr/>
            </a:pPr>
            <a:r>
              <a:rPr kumimoji="0" lang="en-US" sz="2200" b="0" i="0" u="none" strike="noStrike" kern="0" cap="none" spc="0" normalizeH="0" baseline="0" noProof="0" dirty="0">
                <a:ln>
                  <a:solidFill>
                    <a:srgbClr val="FFFFFF">
                      <a:alpha val="0"/>
                    </a:srgbClr>
                  </a:solidFill>
                </a:ln>
                <a:solidFill>
                  <a:srgbClr val="FFFFFF"/>
                </a:solidFill>
                <a:effectLst/>
                <a:uLnTx/>
                <a:uFillTx/>
                <a:latin typeface="Segoe UI Light"/>
              </a:rPr>
              <a:t>Azure SQL Database</a:t>
            </a:r>
          </a:p>
        </p:txBody>
      </p:sp>
      <p:sp>
        <p:nvSpPr>
          <p:cNvPr id="47" name="Rectangle 46"/>
          <p:cNvSpPr/>
          <p:nvPr/>
        </p:nvSpPr>
        <p:spPr bwMode="auto">
          <a:xfrm>
            <a:off x="7450180" y="1339011"/>
            <a:ext cx="2229789" cy="1182557"/>
          </a:xfrm>
          <a:prstGeom prst="rect">
            <a:avLst/>
          </a:prstGeom>
          <a:solidFill>
            <a:srgbClr val="7F7F7F"/>
          </a:solidFill>
          <a:ln w="9525" cap="flat" cmpd="sng" algn="ctr">
            <a:noFill/>
            <a:prstDash val="solid"/>
            <a:headEnd type="none" w="med" len="med"/>
            <a:tailEnd type="none" w="med" len="med"/>
          </a:ln>
          <a:effectLst/>
        </p:spPr>
        <p:txBody>
          <a:bodyPr rot="0" spcFirstLastPara="0" vertOverflow="overflow" horzOverflow="overflow" vert="horz" wrap="square" lIns="89607" tIns="44802" rIns="89607" bIns="44802" numCol="1" spcCol="0" rtlCol="0" fromWordArt="0" anchor="t" anchorCtr="0" forceAA="0" compatLnSpc="1">
            <a:prstTxWarp prst="textNoShape">
              <a:avLst/>
            </a:prstTxWarp>
            <a:noAutofit/>
          </a:bodyPr>
          <a:lstStyle/>
          <a:p>
            <a:pPr marL="0" marR="0" lvl="0" indent="0" defTabSz="1591583" eaLnBrk="1" fontAlgn="base" latinLnBrk="0" hangingPunct="1">
              <a:lnSpc>
                <a:spcPct val="90000"/>
              </a:lnSpc>
              <a:spcBef>
                <a:spcPts val="0"/>
              </a:spcBef>
              <a:spcAft>
                <a:spcPts val="0"/>
              </a:spcAft>
              <a:buClrTx/>
              <a:buSzTx/>
              <a:buFontTx/>
              <a:buNone/>
              <a:tabLst/>
              <a:defRPr/>
            </a:pPr>
            <a:r>
              <a:rPr kumimoji="0" lang="en-US" sz="2200" b="0" i="0" u="none" strike="noStrike" kern="0" cap="none" spc="0" normalizeH="0" baseline="0" noProof="0" dirty="0">
                <a:ln>
                  <a:solidFill>
                    <a:srgbClr val="FFFFFF">
                      <a:alpha val="0"/>
                    </a:srgbClr>
                  </a:solidFill>
                </a:ln>
                <a:solidFill>
                  <a:srgbClr val="FFFFFF"/>
                </a:solidFill>
                <a:effectLst/>
                <a:uLnTx/>
                <a:uFillTx/>
                <a:latin typeface="Segoe UI Light"/>
              </a:rPr>
              <a:t>Apache HBase</a:t>
            </a:r>
          </a:p>
        </p:txBody>
      </p:sp>
      <p:sp>
        <p:nvSpPr>
          <p:cNvPr id="48" name="Rectangle 47"/>
          <p:cNvSpPr/>
          <p:nvPr/>
        </p:nvSpPr>
        <p:spPr bwMode="auto">
          <a:xfrm>
            <a:off x="9760980" y="1340433"/>
            <a:ext cx="2223059" cy="1182557"/>
          </a:xfrm>
          <a:prstGeom prst="rect">
            <a:avLst/>
          </a:prstGeom>
          <a:solidFill>
            <a:srgbClr val="7F7F7F"/>
          </a:solidFill>
          <a:ln w="9525" cap="flat" cmpd="sng" algn="ctr">
            <a:noFill/>
            <a:prstDash val="solid"/>
            <a:headEnd type="none" w="med" len="med"/>
            <a:tailEnd type="none" w="med" len="med"/>
          </a:ln>
          <a:effectLst/>
        </p:spPr>
        <p:txBody>
          <a:bodyPr rot="0" spcFirstLastPara="0" vertOverflow="overflow" horzOverflow="overflow" vert="horz" wrap="square" lIns="89607" tIns="44802" rIns="89607" bIns="44802" numCol="1" spcCol="0" rtlCol="0" fromWordArt="0" anchor="t" anchorCtr="0" forceAA="0" compatLnSpc="1">
            <a:prstTxWarp prst="textNoShape">
              <a:avLst/>
            </a:prstTxWarp>
            <a:noAutofit/>
          </a:bodyPr>
          <a:lstStyle/>
          <a:p>
            <a:pPr marL="0" marR="0" lvl="0" indent="0" defTabSz="1591583" eaLnBrk="1" fontAlgn="base" latinLnBrk="0" hangingPunct="1">
              <a:lnSpc>
                <a:spcPct val="90000"/>
              </a:lnSpc>
              <a:spcBef>
                <a:spcPts val="0"/>
              </a:spcBef>
              <a:spcAft>
                <a:spcPts val="0"/>
              </a:spcAft>
              <a:buClrTx/>
              <a:buSzTx/>
              <a:buFontTx/>
              <a:buNone/>
              <a:tabLst/>
              <a:defRPr/>
            </a:pPr>
            <a:r>
              <a:rPr kumimoji="0" lang="en-US" sz="2200" b="0" i="0" u="none" strike="noStrike" kern="0" cap="none" spc="0" normalizeH="0" baseline="0" noProof="0" dirty="0">
                <a:ln>
                  <a:solidFill>
                    <a:srgbClr val="FFFFFF">
                      <a:alpha val="0"/>
                    </a:srgbClr>
                  </a:solidFill>
                </a:ln>
                <a:solidFill>
                  <a:srgbClr val="FFFFFF"/>
                </a:solidFill>
                <a:effectLst/>
                <a:uLnTx/>
                <a:uFillTx/>
                <a:latin typeface="Segoe UI Light"/>
              </a:rPr>
              <a:t>Tables/Blobs</a:t>
            </a:r>
          </a:p>
        </p:txBody>
      </p:sp>
      <p:sp>
        <p:nvSpPr>
          <p:cNvPr id="59" name="Rectangle 58"/>
          <p:cNvSpPr/>
          <p:nvPr/>
        </p:nvSpPr>
        <p:spPr bwMode="auto">
          <a:xfrm>
            <a:off x="530563" y="1340433"/>
            <a:ext cx="2223745" cy="1182557"/>
          </a:xfrm>
          <a:prstGeom prst="rect">
            <a:avLst/>
          </a:prstGeom>
          <a:solidFill>
            <a:srgbClr val="7F7F7F"/>
          </a:solidFill>
          <a:ln w="9525" cap="flat" cmpd="sng" algn="ctr">
            <a:noFill/>
            <a:prstDash val="solid"/>
            <a:headEnd type="none" w="med" len="med"/>
            <a:tailEnd type="none" w="med" len="med"/>
          </a:ln>
          <a:effectLst/>
        </p:spPr>
        <p:txBody>
          <a:bodyPr rot="0" spcFirstLastPara="0" vertOverflow="overflow" horzOverflow="overflow" vert="horz" wrap="square" lIns="89607" tIns="44802" rIns="89607" bIns="44802" numCol="1" spcCol="0" rtlCol="0" fromWordArt="0" anchor="t" anchorCtr="0" forceAA="0" compatLnSpc="1">
            <a:prstTxWarp prst="textNoShape">
              <a:avLst/>
            </a:prstTxWarp>
            <a:noAutofit/>
          </a:bodyPr>
          <a:lstStyle/>
          <a:p>
            <a:pPr marL="0" marR="0" lvl="0" indent="0" defTabSz="1591583" eaLnBrk="1" fontAlgn="base" latinLnBrk="0" hangingPunct="1">
              <a:lnSpc>
                <a:spcPct val="90000"/>
              </a:lnSpc>
              <a:spcBef>
                <a:spcPts val="0"/>
              </a:spcBef>
              <a:spcAft>
                <a:spcPts val="0"/>
              </a:spcAft>
              <a:buClrTx/>
              <a:buSzTx/>
              <a:buFontTx/>
              <a:buNone/>
              <a:tabLst/>
              <a:defRPr/>
            </a:pPr>
            <a:r>
              <a:rPr kumimoji="0" lang="en-US" sz="2200" b="0" i="0" u="none" strike="noStrike" kern="0" cap="none" spc="0" normalizeH="0" baseline="0" noProof="0" dirty="0">
                <a:ln>
                  <a:solidFill>
                    <a:srgbClr val="FFFFFF">
                      <a:alpha val="0"/>
                    </a:srgbClr>
                  </a:solidFill>
                </a:ln>
                <a:solidFill>
                  <a:srgbClr val="FFFFFF"/>
                </a:solidFill>
                <a:effectLst/>
                <a:uLnTx/>
                <a:uFillTx/>
                <a:latin typeface="Segoe UI Light"/>
              </a:rPr>
              <a:t>SQL Server </a:t>
            </a:r>
            <a:br>
              <a:rPr kumimoji="0" lang="en-US" sz="2200" b="0" i="0" u="none" strike="noStrike" kern="0" cap="none" spc="0" normalizeH="0" baseline="0" noProof="0" dirty="0">
                <a:ln>
                  <a:solidFill>
                    <a:srgbClr val="FFFFFF">
                      <a:alpha val="0"/>
                    </a:srgbClr>
                  </a:solidFill>
                </a:ln>
                <a:solidFill>
                  <a:srgbClr val="FFFFFF"/>
                </a:solidFill>
                <a:effectLst/>
                <a:uLnTx/>
                <a:uFillTx/>
                <a:latin typeface="Segoe UI Light"/>
              </a:rPr>
            </a:br>
            <a:r>
              <a:rPr kumimoji="0" lang="en-US" sz="2200" b="0" i="0" u="none" strike="noStrike" kern="0" cap="none" spc="0" normalizeH="0" baseline="0" noProof="0" dirty="0">
                <a:ln>
                  <a:solidFill>
                    <a:srgbClr val="FFFFFF">
                      <a:alpha val="0"/>
                    </a:srgbClr>
                  </a:solidFill>
                </a:ln>
                <a:solidFill>
                  <a:srgbClr val="FFFFFF"/>
                </a:solidFill>
                <a:effectLst/>
                <a:uLnTx/>
                <a:uFillTx/>
                <a:latin typeface="Segoe UI Light"/>
              </a:rPr>
              <a:t>in a VM</a:t>
            </a:r>
          </a:p>
        </p:txBody>
      </p:sp>
      <p:sp>
        <p:nvSpPr>
          <p:cNvPr id="60" name="Rectangle 59"/>
          <p:cNvSpPr/>
          <p:nvPr/>
        </p:nvSpPr>
        <p:spPr bwMode="auto">
          <a:xfrm>
            <a:off x="5152844" y="1339739"/>
            <a:ext cx="2223059" cy="1182557"/>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89607" tIns="44802" rIns="89607" bIns="44802" numCol="1" spcCol="0" rtlCol="0" fromWordArt="0" anchor="t" anchorCtr="0" forceAA="0" compatLnSpc="1">
            <a:prstTxWarp prst="textNoShape">
              <a:avLst/>
            </a:prstTxWarp>
            <a:noAutofit/>
          </a:bodyPr>
          <a:lstStyle/>
          <a:p>
            <a:pPr marL="0" marR="0" lvl="0" indent="0" defTabSz="1591583" eaLnBrk="1" fontAlgn="base" latinLnBrk="0" hangingPunct="1">
              <a:lnSpc>
                <a:spcPct val="90000"/>
              </a:lnSpc>
              <a:spcBef>
                <a:spcPts val="0"/>
              </a:spcBef>
              <a:spcAft>
                <a:spcPts val="0"/>
              </a:spcAft>
              <a:buClrTx/>
              <a:buSzTx/>
              <a:buFontTx/>
              <a:buNone/>
              <a:tabLst/>
              <a:defRPr/>
            </a:pPr>
            <a:r>
              <a:rPr kumimoji="0" lang="en-US" sz="2200" b="0" i="0" u="none" strike="noStrike" kern="0" cap="none" spc="0" normalizeH="0" baseline="0" noProof="0" dirty="0">
                <a:ln>
                  <a:solidFill>
                    <a:srgbClr val="FFFFFF">
                      <a:alpha val="0"/>
                    </a:srgbClr>
                  </a:solidFill>
                </a:ln>
                <a:solidFill>
                  <a:srgbClr val="FFFFFF"/>
                </a:solidFill>
                <a:effectLst/>
                <a:uLnTx/>
                <a:uFillTx/>
                <a:latin typeface="Segoe UI Light"/>
              </a:rPr>
              <a:t>Azure DocumentDB</a:t>
            </a:r>
          </a:p>
        </p:txBody>
      </p:sp>
      <p:sp>
        <p:nvSpPr>
          <p:cNvPr id="62" name="Rectangle 61"/>
          <p:cNvSpPr/>
          <p:nvPr/>
        </p:nvSpPr>
        <p:spPr bwMode="auto">
          <a:xfrm>
            <a:off x="531191" y="3532188"/>
            <a:ext cx="11452837" cy="329184"/>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828"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a:ln>
                <a:noFill/>
              </a:ln>
              <a:solidFill>
                <a:srgbClr val="FFFFFF"/>
              </a:solidFill>
              <a:effectLst/>
              <a:uLnTx/>
              <a:uFillTx/>
              <a:ea typeface="Segoe UI" pitchFamily="34" charset="0"/>
              <a:cs typeface="Segoe UI" pitchFamily="34" charset="0"/>
            </a:endParaRPr>
          </a:p>
        </p:txBody>
      </p:sp>
      <p:sp>
        <p:nvSpPr>
          <p:cNvPr id="63" name="Rectangle 62"/>
          <p:cNvSpPr/>
          <p:nvPr/>
        </p:nvSpPr>
        <p:spPr bwMode="auto">
          <a:xfrm>
            <a:off x="531190" y="2598585"/>
            <a:ext cx="4561450" cy="326738"/>
          </a:xfrm>
          <a:prstGeom prst="rect">
            <a:avLst/>
          </a:prstGeom>
          <a:solidFill>
            <a:srgbClr val="7F7F7F"/>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828"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a:ln>
                <a:noFill/>
              </a:ln>
              <a:solidFill>
                <a:srgbClr val="FFFFFF">
                  <a:lumMod val="85000"/>
                </a:srgbClr>
              </a:solidFill>
              <a:effectLst/>
              <a:uLnTx/>
              <a:uFillTx/>
              <a:ea typeface="Segoe UI" pitchFamily="34" charset="0"/>
              <a:cs typeface="Segoe UI" pitchFamily="34" charset="0"/>
            </a:endParaRPr>
          </a:p>
        </p:txBody>
      </p:sp>
      <p:sp>
        <p:nvSpPr>
          <p:cNvPr id="64" name="TextBox 63"/>
          <p:cNvSpPr txBox="1"/>
          <p:nvPr/>
        </p:nvSpPr>
        <p:spPr>
          <a:xfrm>
            <a:off x="466950" y="2496434"/>
            <a:ext cx="2327859" cy="515285"/>
          </a:xfrm>
          <a:prstGeom prst="rect">
            <a:avLst/>
          </a:prstGeom>
          <a:noFill/>
        </p:spPr>
        <p:txBody>
          <a:bodyPr wrap="none" lIns="179238" tIns="143391" rIns="179238" bIns="143391" rtlCol="0">
            <a:spAutoFit/>
          </a:bodyPr>
          <a:lstStyle/>
          <a:p>
            <a:pPr marL="0" marR="0" lvl="0" indent="0" defTabSz="914093"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rPr>
              <a:t>Fully featured RDBMS</a:t>
            </a:r>
          </a:p>
        </p:txBody>
      </p:sp>
      <p:sp>
        <p:nvSpPr>
          <p:cNvPr id="65" name="Rectangle 64"/>
          <p:cNvSpPr/>
          <p:nvPr/>
        </p:nvSpPr>
        <p:spPr bwMode="auto">
          <a:xfrm>
            <a:off x="531192" y="3046337"/>
            <a:ext cx="9148776" cy="326738"/>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828"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a:ln>
                <a:noFill/>
              </a:ln>
              <a:solidFill>
                <a:srgbClr val="FFFFFF"/>
              </a:solidFill>
              <a:effectLst/>
              <a:uLnTx/>
              <a:uFillTx/>
              <a:ea typeface="Segoe UI" pitchFamily="34" charset="0"/>
              <a:cs typeface="Segoe UI" pitchFamily="34" charset="0"/>
            </a:endParaRPr>
          </a:p>
        </p:txBody>
      </p:sp>
      <p:sp>
        <p:nvSpPr>
          <p:cNvPr id="66" name="TextBox 65"/>
          <p:cNvSpPr txBox="1"/>
          <p:nvPr/>
        </p:nvSpPr>
        <p:spPr>
          <a:xfrm>
            <a:off x="450097" y="3439624"/>
            <a:ext cx="2588448" cy="515285"/>
          </a:xfrm>
          <a:prstGeom prst="rect">
            <a:avLst/>
          </a:prstGeom>
          <a:noFill/>
        </p:spPr>
        <p:txBody>
          <a:bodyPr wrap="none" lIns="179238" tIns="143391" rIns="179238" bIns="143391" rtlCol="0">
            <a:spAutoFit/>
          </a:bodyPr>
          <a:lstStyle/>
          <a:p>
            <a:pPr marL="0" marR="0" lvl="0" indent="0" defTabSz="914093"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rPr>
              <a:t>Transactional processing</a:t>
            </a:r>
          </a:p>
        </p:txBody>
      </p:sp>
      <p:sp>
        <p:nvSpPr>
          <p:cNvPr id="67" name="TextBox 66"/>
          <p:cNvSpPr txBox="1"/>
          <p:nvPr/>
        </p:nvSpPr>
        <p:spPr>
          <a:xfrm>
            <a:off x="466949" y="2945966"/>
            <a:ext cx="1298130" cy="515285"/>
          </a:xfrm>
          <a:prstGeom prst="rect">
            <a:avLst/>
          </a:prstGeom>
          <a:noFill/>
        </p:spPr>
        <p:txBody>
          <a:bodyPr wrap="none" lIns="179238" tIns="143391" rIns="179238" bIns="143391" rtlCol="0">
            <a:spAutoFit/>
          </a:bodyPr>
          <a:lstStyle/>
          <a:p>
            <a:pPr marL="0" marR="0" lvl="0" indent="0" defTabSz="914093"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rPr>
              <a:t>RichQuery</a:t>
            </a:r>
          </a:p>
        </p:txBody>
      </p:sp>
      <p:sp>
        <p:nvSpPr>
          <p:cNvPr id="68" name="Rectangle 67"/>
          <p:cNvSpPr/>
          <p:nvPr/>
        </p:nvSpPr>
        <p:spPr bwMode="auto">
          <a:xfrm>
            <a:off x="2842046" y="4465793"/>
            <a:ext cx="9141991" cy="326738"/>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828"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9" name="Rectangle 68"/>
          <p:cNvSpPr/>
          <p:nvPr/>
        </p:nvSpPr>
        <p:spPr bwMode="auto">
          <a:xfrm>
            <a:off x="2842046" y="3998991"/>
            <a:ext cx="9141990" cy="326738"/>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828"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0" name="TextBox 69"/>
          <p:cNvSpPr txBox="1"/>
          <p:nvPr/>
        </p:nvSpPr>
        <p:spPr>
          <a:xfrm>
            <a:off x="6758763" y="3886054"/>
            <a:ext cx="5286463" cy="533917"/>
          </a:xfrm>
          <a:prstGeom prst="rect">
            <a:avLst/>
          </a:prstGeom>
          <a:noFill/>
        </p:spPr>
        <p:txBody>
          <a:bodyPr wrap="square" lIns="179238" tIns="143391" rIns="179238" bIns="143391" rtlCol="0">
            <a:spAutoFit/>
          </a:bodyPr>
          <a:lstStyle/>
          <a:p>
            <a:pPr marL="0" marR="0" lvl="0" indent="0" algn="r" defTabSz="914093"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rPr>
              <a:t>Managed as a service</a:t>
            </a:r>
          </a:p>
        </p:txBody>
      </p:sp>
      <p:sp>
        <p:nvSpPr>
          <p:cNvPr id="71" name="TextBox 70"/>
          <p:cNvSpPr txBox="1"/>
          <p:nvPr/>
        </p:nvSpPr>
        <p:spPr>
          <a:xfrm>
            <a:off x="8731522" y="4352127"/>
            <a:ext cx="3313704" cy="533917"/>
          </a:xfrm>
          <a:prstGeom prst="rect">
            <a:avLst/>
          </a:prstGeom>
          <a:noFill/>
        </p:spPr>
        <p:txBody>
          <a:bodyPr wrap="square" lIns="179238" tIns="143391" rIns="179238" bIns="143391" rtlCol="0">
            <a:spAutoFit/>
          </a:bodyPr>
          <a:lstStyle/>
          <a:p>
            <a:pPr marL="0" marR="0" lvl="0" indent="0" algn="r" defTabSz="914093"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rPr>
              <a:t>Elastic scale</a:t>
            </a:r>
          </a:p>
        </p:txBody>
      </p:sp>
      <p:sp>
        <p:nvSpPr>
          <p:cNvPr id="72" name="Rectangle 71"/>
          <p:cNvSpPr/>
          <p:nvPr/>
        </p:nvSpPr>
        <p:spPr bwMode="auto">
          <a:xfrm>
            <a:off x="5152158" y="5399397"/>
            <a:ext cx="6831881" cy="326738"/>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828"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3" name="Rectangle 72"/>
          <p:cNvSpPr/>
          <p:nvPr/>
        </p:nvSpPr>
        <p:spPr bwMode="auto">
          <a:xfrm>
            <a:off x="5152158" y="4932935"/>
            <a:ext cx="6831881" cy="326738"/>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828"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4" name="TextBox 73"/>
          <p:cNvSpPr txBox="1"/>
          <p:nvPr/>
        </p:nvSpPr>
        <p:spPr>
          <a:xfrm>
            <a:off x="7292998" y="5316426"/>
            <a:ext cx="4752228" cy="533917"/>
          </a:xfrm>
          <a:prstGeom prst="rect">
            <a:avLst/>
          </a:prstGeom>
          <a:noFill/>
        </p:spPr>
        <p:txBody>
          <a:bodyPr wrap="square" lIns="179238" tIns="143391" rIns="179238" bIns="143391" rtlCol="0">
            <a:spAutoFit/>
          </a:bodyPr>
          <a:lstStyle/>
          <a:p>
            <a:pPr marL="0" marR="0" lvl="0" indent="0" algn="r" defTabSz="914093"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rPr>
              <a:t>Internet-accessible http/rest</a:t>
            </a:r>
          </a:p>
        </p:txBody>
      </p:sp>
      <p:sp>
        <p:nvSpPr>
          <p:cNvPr id="75" name="TextBox 74"/>
          <p:cNvSpPr txBox="1"/>
          <p:nvPr/>
        </p:nvSpPr>
        <p:spPr>
          <a:xfrm>
            <a:off x="7933078" y="4829347"/>
            <a:ext cx="4112148" cy="533917"/>
          </a:xfrm>
          <a:prstGeom prst="rect">
            <a:avLst/>
          </a:prstGeom>
          <a:noFill/>
        </p:spPr>
        <p:txBody>
          <a:bodyPr wrap="square" lIns="179238" tIns="143391" rIns="179238" bIns="143391" rtlCol="0">
            <a:spAutoFit/>
          </a:bodyPr>
          <a:lstStyle/>
          <a:p>
            <a:pPr marL="0" marR="0" lvl="0" indent="0" algn="r" defTabSz="914093"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rPr>
              <a:t>Schema-free data model</a:t>
            </a:r>
          </a:p>
        </p:txBody>
      </p:sp>
      <p:pic>
        <p:nvPicPr>
          <p:cNvPr id="76" name="Picture 75"/>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638450" y="2085318"/>
            <a:ext cx="536302" cy="318250"/>
          </a:xfrm>
          <a:prstGeom prst="rect">
            <a:avLst/>
          </a:prstGeom>
        </p:spPr>
      </p:pic>
      <p:pic>
        <p:nvPicPr>
          <p:cNvPr id="77" name="Picture 76"/>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5241485" y="2053168"/>
            <a:ext cx="386765" cy="386765"/>
          </a:xfrm>
          <a:prstGeom prst="rect">
            <a:avLst/>
          </a:prstGeom>
        </p:spPr>
      </p:pic>
      <p:pic>
        <p:nvPicPr>
          <p:cNvPr id="93" name="Picture 92"/>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2907726" y="2053169"/>
            <a:ext cx="377802" cy="377802"/>
          </a:xfrm>
          <a:prstGeom prst="rect">
            <a:avLst/>
          </a:prstGeom>
        </p:spPr>
      </p:pic>
      <p:grpSp>
        <p:nvGrpSpPr>
          <p:cNvPr id="4" name="Group 3"/>
          <p:cNvGrpSpPr/>
          <p:nvPr/>
        </p:nvGrpSpPr>
        <p:grpSpPr>
          <a:xfrm>
            <a:off x="9852018" y="2010833"/>
            <a:ext cx="946527" cy="439683"/>
            <a:chOff x="9830852" y="1941331"/>
            <a:chExt cx="1141715" cy="530352"/>
          </a:xfrm>
        </p:grpSpPr>
        <p:pic>
          <p:nvPicPr>
            <p:cNvPr id="94" name="Picture 93"/>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9830852" y="1941331"/>
              <a:ext cx="530352" cy="530352"/>
            </a:xfrm>
            <a:prstGeom prst="rect">
              <a:avLst/>
            </a:prstGeom>
          </p:spPr>
        </p:pic>
        <p:pic>
          <p:nvPicPr>
            <p:cNvPr id="97" name="Picture 96"/>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10442215" y="1941331"/>
              <a:ext cx="530352" cy="530352"/>
            </a:xfrm>
            <a:prstGeom prst="rect">
              <a:avLst/>
            </a:prstGeom>
          </p:spPr>
        </p:pic>
      </p:grpSp>
      <p:pic>
        <p:nvPicPr>
          <p:cNvPr id="98" name="Picture 97"/>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7541930" y="1979086"/>
            <a:ext cx="510641" cy="510641"/>
          </a:xfrm>
          <a:prstGeom prst="rect">
            <a:avLst/>
          </a:prstGeom>
        </p:spPr>
      </p:pic>
      <p:sp>
        <p:nvSpPr>
          <p:cNvPr id="99" name="Rectangle 98"/>
          <p:cNvSpPr/>
          <p:nvPr/>
        </p:nvSpPr>
        <p:spPr bwMode="auto">
          <a:xfrm>
            <a:off x="9760288" y="5865858"/>
            <a:ext cx="2223749" cy="329184"/>
          </a:xfrm>
          <a:prstGeom prst="rect">
            <a:avLst/>
          </a:prstGeom>
          <a:solidFill>
            <a:srgbClr val="7F7F7F"/>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828"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0" name="TextBox 99"/>
          <p:cNvSpPr txBox="1"/>
          <p:nvPr/>
        </p:nvSpPr>
        <p:spPr>
          <a:xfrm>
            <a:off x="9349722" y="5770369"/>
            <a:ext cx="2695504" cy="515285"/>
          </a:xfrm>
          <a:prstGeom prst="rect">
            <a:avLst/>
          </a:prstGeom>
          <a:noFill/>
        </p:spPr>
        <p:txBody>
          <a:bodyPr wrap="square" lIns="179238" tIns="143391" rIns="179238" bIns="143391" rtlCol="0">
            <a:spAutoFit/>
          </a:bodyPr>
          <a:lstStyle>
            <a:defPPr>
              <a:defRPr lang="en-US"/>
            </a:defPPr>
            <a:lvl1pPr>
              <a:lnSpc>
                <a:spcPct val="90000"/>
              </a:lnSpc>
              <a:defRPr>
                <a:solidFill>
                  <a:schemeClr val="bg2">
                    <a:lumMod val="75000"/>
                  </a:schemeClr>
                </a:solidFill>
              </a:defRPr>
            </a:lvl1pPr>
          </a:lstStyle>
          <a:p>
            <a:pPr marL="0" marR="0" lvl="0" indent="0" algn="r" defTabSz="914093"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rPr>
              <a:t>Arbitrary data formats</a:t>
            </a:r>
          </a:p>
        </p:txBody>
      </p:sp>
    </p:spTree>
    <p:extLst>
      <p:ext uri="{BB962C8B-B14F-4D97-AF65-F5344CB8AC3E}">
        <p14:creationId xmlns:p14="http://schemas.microsoft.com/office/powerpoint/2010/main" val="1461066718"/>
      </p:ext>
    </p:extLst>
  </p:cSld>
  <p:clrMapOvr>
    <a:masterClrMapping/>
  </p:clrMapOvr>
  <p:transition spd="slow">
    <p:comb/>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age Availability, Durability</a:t>
            </a:r>
          </a:p>
        </p:txBody>
      </p:sp>
      <p:sp>
        <p:nvSpPr>
          <p:cNvPr id="6" name="Content Placeholder 5"/>
          <p:cNvSpPr>
            <a:spLocks noGrp="1"/>
          </p:cNvSpPr>
          <p:nvPr>
            <p:ph sz="quarter" idx="10"/>
          </p:nvPr>
        </p:nvSpPr>
        <p:spPr/>
        <p:txBody>
          <a:bodyPr/>
          <a:lstStyle/>
          <a:p>
            <a:pPr lvl="1"/>
            <a:r>
              <a:rPr lang="en-US" b="1" dirty="0"/>
              <a:t>Locally redundant storage (LRS).</a:t>
            </a:r>
            <a:r>
              <a:rPr lang="en-US" dirty="0"/>
              <a:t> maintains 3 copies of data, replicates 3 times within a single facility in a single region. </a:t>
            </a:r>
          </a:p>
          <a:p>
            <a:pPr lvl="1"/>
            <a:r>
              <a:rPr lang="en-US" b="1" dirty="0"/>
              <a:t>Zone-redundant storage (ZRS).</a:t>
            </a:r>
            <a:r>
              <a:rPr lang="en-US" dirty="0"/>
              <a:t> maintains 3 copies of data. ZRS is replicates 3 times across 2-3 facilities, either within a single region or across two regions</a:t>
            </a:r>
          </a:p>
          <a:p>
            <a:pPr lvl="1"/>
            <a:r>
              <a:rPr lang="en-US" b="1" dirty="0"/>
              <a:t>Geo-redundant storage (GRS)</a:t>
            </a:r>
            <a:r>
              <a:rPr lang="en-US" dirty="0"/>
              <a:t>. maintains 6 copies of your data. replicates 3 within the primary region, and is also replicated 3 times in a secondary region</a:t>
            </a:r>
          </a:p>
          <a:p>
            <a:pPr lvl="1"/>
            <a:r>
              <a:rPr lang="en-US" b="1" dirty="0"/>
              <a:t>Read access geo-redundant storage (RA-GRS)</a:t>
            </a:r>
            <a:r>
              <a:rPr lang="en-US" dirty="0"/>
              <a:t>. replicates data to a secondary geographic location also provides read access in the secondary location </a:t>
            </a:r>
          </a:p>
        </p:txBody>
      </p:sp>
    </p:spTree>
    <p:extLst>
      <p:ext uri="{BB962C8B-B14F-4D97-AF65-F5344CB8AC3E}">
        <p14:creationId xmlns:p14="http://schemas.microsoft.com/office/powerpoint/2010/main" val="19692387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ap/Reduce</a:t>
            </a:r>
          </a:p>
        </p:txBody>
      </p:sp>
      <p:sp>
        <p:nvSpPr>
          <p:cNvPr id="3" name="Content Placeholder 2"/>
          <p:cNvSpPr>
            <a:spLocks noGrp="1"/>
          </p:cNvSpPr>
          <p:nvPr>
            <p:ph sz="quarter" idx="10"/>
          </p:nvPr>
        </p:nvSpPr>
        <p:spPr>
          <a:xfrm>
            <a:off x="6038363" y="2743214"/>
            <a:ext cx="5645923" cy="3655892"/>
          </a:xfrm>
        </p:spPr>
        <p:txBody>
          <a:bodyPr/>
          <a:lstStyle/>
          <a:p>
            <a:pPr marL="514350" indent="-514350">
              <a:buFont typeface="+mj-lt"/>
              <a:buAutoNum type="arabicPeriod"/>
            </a:pPr>
            <a:r>
              <a:rPr lang="en-US" dirty="0"/>
              <a:t>Source data is divided among data nodes</a:t>
            </a:r>
          </a:p>
          <a:p>
            <a:pPr marL="514350" indent="-514350">
              <a:buFont typeface="+mj-lt"/>
              <a:buAutoNum type="arabicPeriod"/>
            </a:pPr>
            <a:r>
              <a:rPr lang="en-US" dirty="0"/>
              <a:t>Map phase generates key/value pairs</a:t>
            </a:r>
          </a:p>
          <a:p>
            <a:pPr marL="514350" indent="-514350">
              <a:buFont typeface="+mj-lt"/>
              <a:buAutoNum type="arabicPeriod"/>
            </a:pPr>
            <a:r>
              <a:rPr lang="en-US" dirty="0"/>
              <a:t>Reduce phase aggregates values for each key</a:t>
            </a:r>
          </a:p>
        </p:txBody>
      </p:sp>
      <p:sp>
        <p:nvSpPr>
          <p:cNvPr id="4" name="TextBox 3"/>
          <p:cNvSpPr txBox="1"/>
          <p:nvPr/>
        </p:nvSpPr>
        <p:spPr>
          <a:xfrm>
            <a:off x="1229966" y="883984"/>
            <a:ext cx="3592664" cy="523220"/>
          </a:xfrm>
          <a:prstGeom prst="rect">
            <a:avLst/>
          </a:prstGeom>
          <a:noFill/>
        </p:spPr>
        <p:txBody>
          <a:bodyPr wrap="squar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1400" b="0" i="0" u="none" strike="noStrike" kern="0" cap="none" spc="0" normalizeH="0" baseline="0" noProof="0" dirty="0" err="1">
                <a:ln>
                  <a:noFill/>
                </a:ln>
                <a:solidFill>
                  <a:srgbClr val="000000"/>
                </a:solidFill>
                <a:effectLst/>
                <a:uLnTx/>
                <a:uFillTx/>
                <a:latin typeface="Verdana" pitchFamily="34" charset="0"/>
                <a:cs typeface="Arial" charset="0"/>
              </a:rPr>
              <a:t>Lorem</a:t>
            </a:r>
            <a:r>
              <a:rPr kumimoji="0" lang="en-GB" sz="1400" b="0" i="0" u="none" strike="noStrike" kern="0" cap="none" spc="0" normalizeH="0" baseline="0" noProof="0" dirty="0">
                <a:ln>
                  <a:noFill/>
                </a:ln>
                <a:solidFill>
                  <a:srgbClr val="000000"/>
                </a:solidFill>
                <a:effectLst/>
                <a:uLnTx/>
                <a:uFillTx/>
                <a:latin typeface="Verdana" pitchFamily="34" charset="0"/>
                <a:cs typeface="Arial" charset="0"/>
              </a:rPr>
              <a:t> </a:t>
            </a:r>
            <a:r>
              <a:rPr kumimoji="0" lang="en-GB" sz="1400" b="0" i="0" u="none" strike="noStrike" kern="0" cap="none" spc="0" normalizeH="0" baseline="0" noProof="0" dirty="0" err="1">
                <a:ln>
                  <a:noFill/>
                </a:ln>
                <a:solidFill>
                  <a:srgbClr val="000000"/>
                </a:solidFill>
                <a:effectLst/>
                <a:uLnTx/>
                <a:uFillTx/>
                <a:latin typeface="Verdana" pitchFamily="34" charset="0"/>
                <a:cs typeface="Arial" charset="0"/>
              </a:rPr>
              <a:t>ipsum</a:t>
            </a:r>
            <a:r>
              <a:rPr kumimoji="0" lang="en-GB" sz="1400" b="0" i="0" u="none" strike="noStrike" kern="0" cap="none" spc="0" normalizeH="0" baseline="0" noProof="0" dirty="0">
                <a:ln>
                  <a:noFill/>
                </a:ln>
                <a:solidFill>
                  <a:srgbClr val="000000"/>
                </a:solidFill>
                <a:effectLst/>
                <a:uLnTx/>
                <a:uFillTx/>
                <a:latin typeface="Verdana" pitchFamily="34" charset="0"/>
                <a:cs typeface="Arial" charset="0"/>
              </a:rPr>
              <a:t> sit </a:t>
            </a:r>
            <a:r>
              <a:rPr kumimoji="0" lang="en-GB" sz="1400" b="0" i="0" u="none" strike="noStrike" kern="0" cap="none" spc="0" normalizeH="0" baseline="0" noProof="0" dirty="0" err="1">
                <a:ln>
                  <a:noFill/>
                </a:ln>
                <a:solidFill>
                  <a:srgbClr val="000000"/>
                </a:solidFill>
                <a:effectLst/>
                <a:uLnTx/>
                <a:uFillTx/>
                <a:latin typeface="Verdana" pitchFamily="34" charset="0"/>
                <a:cs typeface="Arial" charset="0"/>
              </a:rPr>
              <a:t>amet</a:t>
            </a:r>
            <a:r>
              <a:rPr kumimoji="0" lang="en-GB" sz="1400" b="0" i="0" u="none" strike="noStrike" kern="0" cap="none" spc="0" normalizeH="0" baseline="0" noProof="0" dirty="0">
                <a:ln>
                  <a:noFill/>
                </a:ln>
                <a:solidFill>
                  <a:srgbClr val="000000"/>
                </a:solidFill>
                <a:effectLst/>
                <a:uLnTx/>
                <a:uFillTx/>
                <a:latin typeface="Verdana" pitchFamily="34" charset="0"/>
                <a:cs typeface="Arial" charset="0"/>
              </a:rPr>
              <a:t> magma sit </a:t>
            </a:r>
            <a:r>
              <a:rPr kumimoji="0" lang="en-GB" sz="1400" b="0" i="0" u="none" strike="noStrike" kern="0" cap="none" spc="0" normalizeH="0" baseline="0" noProof="0" dirty="0" err="1">
                <a:ln>
                  <a:noFill/>
                </a:ln>
                <a:solidFill>
                  <a:srgbClr val="000000"/>
                </a:solidFill>
                <a:effectLst/>
                <a:uLnTx/>
                <a:uFillTx/>
                <a:latin typeface="Verdana" pitchFamily="34" charset="0"/>
                <a:cs typeface="Arial" charset="0"/>
              </a:rPr>
              <a:t>elit</a:t>
            </a:r>
            <a:endParaRPr kumimoji="0" lang="en-GB" sz="1400" b="0" i="0" u="none" strike="noStrike" kern="0" cap="none" spc="0" normalizeH="0" baseline="0" noProof="0" dirty="0">
              <a:ln>
                <a:noFill/>
              </a:ln>
              <a:solidFill>
                <a:srgbClr val="000000"/>
              </a:solidFill>
              <a:effectLst/>
              <a:uLnTx/>
              <a:uFillTx/>
              <a:latin typeface="Verdana" pitchFamily="34" charset="0"/>
              <a:cs typeface="Arial" charset="0"/>
            </a:endParaRPr>
          </a:p>
          <a:p>
            <a:pPr marL="0" marR="0" lvl="0" indent="0" defTabSz="914400" eaLnBrk="1" fontAlgn="base" latinLnBrk="0" hangingPunct="1">
              <a:lnSpc>
                <a:spcPct val="100000"/>
              </a:lnSpc>
              <a:spcBef>
                <a:spcPct val="0"/>
              </a:spcBef>
              <a:spcAft>
                <a:spcPct val="0"/>
              </a:spcAft>
              <a:buClrTx/>
              <a:buSzTx/>
              <a:buFontTx/>
              <a:buNone/>
              <a:tabLst/>
              <a:defRPr/>
            </a:pPr>
            <a:r>
              <a:rPr kumimoji="0" lang="en-GB" sz="1400" b="0" i="0" u="none" strike="noStrike" kern="0" cap="none" spc="0" normalizeH="0" baseline="0" noProof="0" dirty="0" err="1">
                <a:ln>
                  <a:noFill/>
                </a:ln>
                <a:solidFill>
                  <a:srgbClr val="000000"/>
                </a:solidFill>
                <a:effectLst/>
                <a:uLnTx/>
                <a:uFillTx/>
                <a:latin typeface="Verdana" pitchFamily="34" charset="0"/>
                <a:cs typeface="Arial" charset="0"/>
              </a:rPr>
              <a:t>Fusce</a:t>
            </a:r>
            <a:r>
              <a:rPr kumimoji="0" lang="en-GB" sz="1400" b="0" i="0" u="none" strike="noStrike" kern="0" cap="none" spc="0" normalizeH="0" baseline="0" noProof="0" dirty="0">
                <a:ln>
                  <a:noFill/>
                </a:ln>
                <a:solidFill>
                  <a:srgbClr val="000000"/>
                </a:solidFill>
                <a:effectLst/>
                <a:uLnTx/>
                <a:uFillTx/>
                <a:latin typeface="Verdana" pitchFamily="34" charset="0"/>
                <a:cs typeface="Arial" charset="0"/>
              </a:rPr>
              <a:t> magna </a:t>
            </a:r>
            <a:r>
              <a:rPr kumimoji="0" lang="en-GB" sz="1400" b="0" i="0" u="none" strike="noStrike" kern="0" cap="none" spc="0" normalizeH="0" baseline="0" noProof="0" dirty="0" err="1">
                <a:ln>
                  <a:noFill/>
                </a:ln>
                <a:solidFill>
                  <a:srgbClr val="000000"/>
                </a:solidFill>
                <a:effectLst/>
                <a:uLnTx/>
                <a:uFillTx/>
                <a:latin typeface="Verdana" pitchFamily="34" charset="0"/>
                <a:cs typeface="Arial" charset="0"/>
              </a:rPr>
              <a:t>sed</a:t>
            </a:r>
            <a:r>
              <a:rPr kumimoji="0" lang="en-GB" sz="1400" b="0" i="0" u="none" strike="noStrike" kern="0" cap="none" spc="0" normalizeH="0" baseline="0" noProof="0" dirty="0">
                <a:ln>
                  <a:noFill/>
                </a:ln>
                <a:solidFill>
                  <a:srgbClr val="000000"/>
                </a:solidFill>
                <a:effectLst/>
                <a:uLnTx/>
                <a:uFillTx/>
                <a:latin typeface="Verdana" pitchFamily="34" charset="0"/>
                <a:cs typeface="Arial" charset="0"/>
              </a:rPr>
              <a:t> sit </a:t>
            </a:r>
            <a:r>
              <a:rPr kumimoji="0" lang="en-GB" sz="1400" b="0" i="0" u="none" strike="noStrike" kern="0" cap="none" spc="0" normalizeH="0" baseline="0" noProof="0" dirty="0" err="1">
                <a:ln>
                  <a:noFill/>
                </a:ln>
                <a:solidFill>
                  <a:srgbClr val="000000"/>
                </a:solidFill>
                <a:effectLst/>
                <a:uLnTx/>
                <a:uFillTx/>
                <a:latin typeface="Verdana" pitchFamily="34" charset="0"/>
                <a:cs typeface="Arial" charset="0"/>
              </a:rPr>
              <a:t>amet</a:t>
            </a:r>
            <a:r>
              <a:rPr kumimoji="0" lang="en-GB" sz="1400" b="0" i="0" u="none" strike="noStrike" kern="0" cap="none" spc="0" normalizeH="0" baseline="0" noProof="0" dirty="0">
                <a:ln>
                  <a:noFill/>
                </a:ln>
                <a:solidFill>
                  <a:srgbClr val="000000"/>
                </a:solidFill>
                <a:effectLst/>
                <a:uLnTx/>
                <a:uFillTx/>
                <a:latin typeface="Verdana" pitchFamily="34" charset="0"/>
                <a:cs typeface="Arial" charset="0"/>
              </a:rPr>
              <a:t> magna</a:t>
            </a:r>
          </a:p>
        </p:txBody>
      </p:sp>
      <p:graphicFrame>
        <p:nvGraphicFramePr>
          <p:cNvPr id="5" name="Table 4"/>
          <p:cNvGraphicFramePr>
            <a:graphicFrameLocks noGrp="1"/>
          </p:cNvGraphicFramePr>
          <p:nvPr>
            <p:extLst/>
          </p:nvPr>
        </p:nvGraphicFramePr>
        <p:xfrm>
          <a:off x="913074" y="1686069"/>
          <a:ext cx="2194560" cy="2438400"/>
        </p:xfrm>
        <a:graphic>
          <a:graphicData uri="http://schemas.openxmlformats.org/drawingml/2006/table">
            <a:tbl>
              <a:tblPr firstRow="1" bandRow="1"/>
              <a:tblGrid>
                <a:gridCol w="1196340">
                  <a:extLst>
                    <a:ext uri="{9D8B030D-6E8A-4147-A177-3AD203B41FA5}">
                      <a16:colId xmlns:a16="http://schemas.microsoft.com/office/drawing/2014/main" val="20000"/>
                    </a:ext>
                  </a:extLst>
                </a:gridCol>
                <a:gridCol w="998220">
                  <a:extLst>
                    <a:ext uri="{9D8B030D-6E8A-4147-A177-3AD203B41FA5}">
                      <a16:colId xmlns:a16="http://schemas.microsoft.com/office/drawing/2014/main" val="20001"/>
                    </a:ext>
                  </a:extLst>
                </a:gridCol>
              </a:tblGrid>
              <a:tr h="279070">
                <a:tc>
                  <a:txBody>
                    <a:bodyPr/>
                    <a:lstStyle>
                      <a:lvl1pPr marL="0" algn="l" defTabSz="914088" rtl="0" eaLnBrk="1" latinLnBrk="0" hangingPunct="1">
                        <a:defRPr sz="1800" b="1" kern="1200">
                          <a:solidFill>
                            <a:schemeClr val="lt1"/>
                          </a:solidFill>
                          <a:latin typeface="Verdana"/>
                          <a:ea typeface=""/>
                          <a:cs typeface=""/>
                        </a:defRPr>
                      </a:lvl1pPr>
                      <a:lvl2pPr marL="457044" algn="l" defTabSz="914088" rtl="0" eaLnBrk="1" latinLnBrk="0" hangingPunct="1">
                        <a:defRPr sz="1800" b="1" kern="1200">
                          <a:solidFill>
                            <a:schemeClr val="lt1"/>
                          </a:solidFill>
                          <a:latin typeface="Verdana"/>
                          <a:ea typeface=""/>
                          <a:cs typeface=""/>
                        </a:defRPr>
                      </a:lvl2pPr>
                      <a:lvl3pPr marL="914088" algn="l" defTabSz="914088" rtl="0" eaLnBrk="1" latinLnBrk="0" hangingPunct="1">
                        <a:defRPr sz="1800" b="1" kern="1200">
                          <a:solidFill>
                            <a:schemeClr val="lt1"/>
                          </a:solidFill>
                          <a:latin typeface="Verdana"/>
                          <a:ea typeface=""/>
                          <a:cs typeface=""/>
                        </a:defRPr>
                      </a:lvl3pPr>
                      <a:lvl4pPr marL="1371133" algn="l" defTabSz="914088" rtl="0" eaLnBrk="1" latinLnBrk="0" hangingPunct="1">
                        <a:defRPr sz="1800" b="1" kern="1200">
                          <a:solidFill>
                            <a:schemeClr val="lt1"/>
                          </a:solidFill>
                          <a:latin typeface="Verdana"/>
                          <a:ea typeface=""/>
                          <a:cs typeface=""/>
                        </a:defRPr>
                      </a:lvl4pPr>
                      <a:lvl5pPr marL="1828178" algn="l" defTabSz="914088" rtl="0" eaLnBrk="1" latinLnBrk="0" hangingPunct="1">
                        <a:defRPr sz="1800" b="1" kern="1200">
                          <a:solidFill>
                            <a:schemeClr val="lt1"/>
                          </a:solidFill>
                          <a:latin typeface="Verdana"/>
                          <a:ea typeface=""/>
                          <a:cs typeface=""/>
                        </a:defRPr>
                      </a:lvl5pPr>
                      <a:lvl6pPr marL="2285222" algn="l" defTabSz="914088" rtl="0" eaLnBrk="1" latinLnBrk="0" hangingPunct="1">
                        <a:defRPr sz="1800" b="1" kern="1200">
                          <a:solidFill>
                            <a:schemeClr val="lt1"/>
                          </a:solidFill>
                          <a:latin typeface="Verdana"/>
                          <a:ea typeface=""/>
                          <a:cs typeface=""/>
                        </a:defRPr>
                      </a:lvl6pPr>
                      <a:lvl7pPr marL="2742267" algn="l" defTabSz="914088" rtl="0" eaLnBrk="1" latinLnBrk="0" hangingPunct="1">
                        <a:defRPr sz="1800" b="1" kern="1200">
                          <a:solidFill>
                            <a:schemeClr val="lt1"/>
                          </a:solidFill>
                          <a:latin typeface="Verdana"/>
                          <a:ea typeface=""/>
                          <a:cs typeface=""/>
                        </a:defRPr>
                      </a:lvl7pPr>
                      <a:lvl8pPr marL="3199311" algn="l" defTabSz="914088" rtl="0" eaLnBrk="1" latinLnBrk="0" hangingPunct="1">
                        <a:defRPr sz="1800" b="1" kern="1200">
                          <a:solidFill>
                            <a:schemeClr val="lt1"/>
                          </a:solidFill>
                          <a:latin typeface="Verdana"/>
                          <a:ea typeface=""/>
                          <a:cs typeface=""/>
                        </a:defRPr>
                      </a:lvl8pPr>
                      <a:lvl9pPr marL="3656358" algn="l" defTabSz="914088" rtl="0" eaLnBrk="1" latinLnBrk="0" hangingPunct="1">
                        <a:defRPr sz="1800" b="1" kern="1200">
                          <a:solidFill>
                            <a:schemeClr val="lt1"/>
                          </a:solidFill>
                          <a:latin typeface="Verdana"/>
                          <a:ea typeface=""/>
                          <a:cs typeface=""/>
                        </a:defRPr>
                      </a:lvl9pPr>
                    </a:lstStyle>
                    <a:p>
                      <a:r>
                        <a:rPr lang="en-GB" sz="1400" dirty="0">
                          <a:solidFill>
                            <a:schemeClr val="tx1"/>
                          </a:solidFill>
                        </a:rPr>
                        <a:t>Key</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088" rtl="0" eaLnBrk="1" latinLnBrk="0" hangingPunct="1">
                        <a:defRPr sz="1800" b="1" kern="1200">
                          <a:solidFill>
                            <a:schemeClr val="lt1"/>
                          </a:solidFill>
                          <a:latin typeface="Verdana"/>
                          <a:ea typeface=""/>
                          <a:cs typeface=""/>
                        </a:defRPr>
                      </a:lvl1pPr>
                      <a:lvl2pPr marL="457044" algn="l" defTabSz="914088" rtl="0" eaLnBrk="1" latinLnBrk="0" hangingPunct="1">
                        <a:defRPr sz="1800" b="1" kern="1200">
                          <a:solidFill>
                            <a:schemeClr val="lt1"/>
                          </a:solidFill>
                          <a:latin typeface="Verdana"/>
                          <a:ea typeface=""/>
                          <a:cs typeface=""/>
                        </a:defRPr>
                      </a:lvl2pPr>
                      <a:lvl3pPr marL="914088" algn="l" defTabSz="914088" rtl="0" eaLnBrk="1" latinLnBrk="0" hangingPunct="1">
                        <a:defRPr sz="1800" b="1" kern="1200">
                          <a:solidFill>
                            <a:schemeClr val="lt1"/>
                          </a:solidFill>
                          <a:latin typeface="Verdana"/>
                          <a:ea typeface=""/>
                          <a:cs typeface=""/>
                        </a:defRPr>
                      </a:lvl3pPr>
                      <a:lvl4pPr marL="1371133" algn="l" defTabSz="914088" rtl="0" eaLnBrk="1" latinLnBrk="0" hangingPunct="1">
                        <a:defRPr sz="1800" b="1" kern="1200">
                          <a:solidFill>
                            <a:schemeClr val="lt1"/>
                          </a:solidFill>
                          <a:latin typeface="Verdana"/>
                          <a:ea typeface=""/>
                          <a:cs typeface=""/>
                        </a:defRPr>
                      </a:lvl4pPr>
                      <a:lvl5pPr marL="1828178" algn="l" defTabSz="914088" rtl="0" eaLnBrk="1" latinLnBrk="0" hangingPunct="1">
                        <a:defRPr sz="1800" b="1" kern="1200">
                          <a:solidFill>
                            <a:schemeClr val="lt1"/>
                          </a:solidFill>
                          <a:latin typeface="Verdana"/>
                          <a:ea typeface=""/>
                          <a:cs typeface=""/>
                        </a:defRPr>
                      </a:lvl5pPr>
                      <a:lvl6pPr marL="2285222" algn="l" defTabSz="914088" rtl="0" eaLnBrk="1" latinLnBrk="0" hangingPunct="1">
                        <a:defRPr sz="1800" b="1" kern="1200">
                          <a:solidFill>
                            <a:schemeClr val="lt1"/>
                          </a:solidFill>
                          <a:latin typeface="Verdana"/>
                          <a:ea typeface=""/>
                          <a:cs typeface=""/>
                        </a:defRPr>
                      </a:lvl6pPr>
                      <a:lvl7pPr marL="2742267" algn="l" defTabSz="914088" rtl="0" eaLnBrk="1" latinLnBrk="0" hangingPunct="1">
                        <a:defRPr sz="1800" b="1" kern="1200">
                          <a:solidFill>
                            <a:schemeClr val="lt1"/>
                          </a:solidFill>
                          <a:latin typeface="Verdana"/>
                          <a:ea typeface=""/>
                          <a:cs typeface=""/>
                        </a:defRPr>
                      </a:lvl7pPr>
                      <a:lvl8pPr marL="3199311" algn="l" defTabSz="914088" rtl="0" eaLnBrk="1" latinLnBrk="0" hangingPunct="1">
                        <a:defRPr sz="1800" b="1" kern="1200">
                          <a:solidFill>
                            <a:schemeClr val="lt1"/>
                          </a:solidFill>
                          <a:latin typeface="Verdana"/>
                          <a:ea typeface=""/>
                          <a:cs typeface=""/>
                        </a:defRPr>
                      </a:lvl8pPr>
                      <a:lvl9pPr marL="3656358" algn="l" defTabSz="914088" rtl="0" eaLnBrk="1" latinLnBrk="0" hangingPunct="1">
                        <a:defRPr sz="1800" b="1" kern="1200">
                          <a:solidFill>
                            <a:schemeClr val="lt1"/>
                          </a:solidFill>
                          <a:latin typeface="Verdana"/>
                          <a:ea typeface=""/>
                          <a:cs typeface=""/>
                        </a:defRPr>
                      </a:lvl9pPr>
                    </a:lstStyle>
                    <a:p>
                      <a:r>
                        <a:rPr lang="en-GB" sz="1400" dirty="0">
                          <a:solidFill>
                            <a:schemeClr val="tx1"/>
                          </a:solidFill>
                        </a:rPr>
                        <a:t>Value</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279070">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err="1">
                          <a:solidFill>
                            <a:schemeClr val="tx1"/>
                          </a:solidFill>
                        </a:rPr>
                        <a:t>Lorem</a:t>
                      </a:r>
                      <a:endParaRPr lang="en-GB" sz="14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1"/>
                  </a:ext>
                </a:extLst>
              </a:tr>
              <a:tr h="279070">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err="1">
                          <a:solidFill>
                            <a:schemeClr val="tx1"/>
                          </a:solidFill>
                        </a:rPr>
                        <a:t>ipsum</a:t>
                      </a:r>
                      <a:endParaRPr lang="en-GB" sz="14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2"/>
                  </a:ext>
                </a:extLst>
              </a:tr>
              <a:tr h="279070">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si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3"/>
                  </a:ext>
                </a:extLst>
              </a:tr>
              <a:tr h="279070">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a:solidFill>
                            <a:schemeClr val="tx1"/>
                          </a:solidFill>
                        </a:rPr>
                        <a:t>amet</a:t>
                      </a:r>
                      <a:endParaRPr lang="en-GB" sz="14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4"/>
                  </a:ext>
                </a:extLst>
              </a:tr>
              <a:tr h="279070">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magma</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5"/>
                  </a:ext>
                </a:extLst>
              </a:tr>
              <a:tr h="279070">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si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6"/>
                  </a:ext>
                </a:extLst>
              </a:tr>
              <a:tr h="279070">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err="1">
                          <a:solidFill>
                            <a:schemeClr val="tx1"/>
                          </a:solidFill>
                        </a:rPr>
                        <a:t>elit</a:t>
                      </a:r>
                      <a:endParaRPr lang="en-GB" sz="14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7"/>
                  </a:ext>
                </a:extLst>
              </a:tr>
            </a:tbl>
          </a:graphicData>
        </a:graphic>
      </p:graphicFrame>
      <p:graphicFrame>
        <p:nvGraphicFramePr>
          <p:cNvPr id="6" name="Table 5"/>
          <p:cNvGraphicFramePr>
            <a:graphicFrameLocks noGrp="1"/>
          </p:cNvGraphicFramePr>
          <p:nvPr>
            <p:extLst/>
          </p:nvPr>
        </p:nvGraphicFramePr>
        <p:xfrm>
          <a:off x="3545784" y="1678449"/>
          <a:ext cx="2194560" cy="2133600"/>
        </p:xfrm>
        <a:graphic>
          <a:graphicData uri="http://schemas.openxmlformats.org/drawingml/2006/table">
            <a:tbl>
              <a:tblPr firstRow="1" bandRow="1"/>
              <a:tblGrid>
                <a:gridCol w="1196340">
                  <a:extLst>
                    <a:ext uri="{9D8B030D-6E8A-4147-A177-3AD203B41FA5}">
                      <a16:colId xmlns:a16="http://schemas.microsoft.com/office/drawing/2014/main" val="20000"/>
                    </a:ext>
                  </a:extLst>
                </a:gridCol>
                <a:gridCol w="998220">
                  <a:extLst>
                    <a:ext uri="{9D8B030D-6E8A-4147-A177-3AD203B41FA5}">
                      <a16:colId xmlns:a16="http://schemas.microsoft.com/office/drawing/2014/main" val="20001"/>
                    </a:ext>
                  </a:extLst>
                </a:gridCol>
              </a:tblGrid>
              <a:tr h="222391">
                <a:tc>
                  <a:txBody>
                    <a:bodyPr/>
                    <a:lstStyle>
                      <a:lvl1pPr marL="0" algn="l" defTabSz="914088" rtl="0" eaLnBrk="1" latinLnBrk="0" hangingPunct="1">
                        <a:defRPr sz="1800" b="1" kern="1200">
                          <a:solidFill>
                            <a:schemeClr val="lt1"/>
                          </a:solidFill>
                          <a:latin typeface="Verdana"/>
                          <a:ea typeface=""/>
                          <a:cs typeface=""/>
                        </a:defRPr>
                      </a:lvl1pPr>
                      <a:lvl2pPr marL="457044" algn="l" defTabSz="914088" rtl="0" eaLnBrk="1" latinLnBrk="0" hangingPunct="1">
                        <a:defRPr sz="1800" b="1" kern="1200">
                          <a:solidFill>
                            <a:schemeClr val="lt1"/>
                          </a:solidFill>
                          <a:latin typeface="Verdana"/>
                          <a:ea typeface=""/>
                          <a:cs typeface=""/>
                        </a:defRPr>
                      </a:lvl2pPr>
                      <a:lvl3pPr marL="914088" algn="l" defTabSz="914088" rtl="0" eaLnBrk="1" latinLnBrk="0" hangingPunct="1">
                        <a:defRPr sz="1800" b="1" kern="1200">
                          <a:solidFill>
                            <a:schemeClr val="lt1"/>
                          </a:solidFill>
                          <a:latin typeface="Verdana"/>
                          <a:ea typeface=""/>
                          <a:cs typeface=""/>
                        </a:defRPr>
                      </a:lvl3pPr>
                      <a:lvl4pPr marL="1371133" algn="l" defTabSz="914088" rtl="0" eaLnBrk="1" latinLnBrk="0" hangingPunct="1">
                        <a:defRPr sz="1800" b="1" kern="1200">
                          <a:solidFill>
                            <a:schemeClr val="lt1"/>
                          </a:solidFill>
                          <a:latin typeface="Verdana"/>
                          <a:ea typeface=""/>
                          <a:cs typeface=""/>
                        </a:defRPr>
                      </a:lvl4pPr>
                      <a:lvl5pPr marL="1828178" algn="l" defTabSz="914088" rtl="0" eaLnBrk="1" latinLnBrk="0" hangingPunct="1">
                        <a:defRPr sz="1800" b="1" kern="1200">
                          <a:solidFill>
                            <a:schemeClr val="lt1"/>
                          </a:solidFill>
                          <a:latin typeface="Verdana"/>
                          <a:ea typeface=""/>
                          <a:cs typeface=""/>
                        </a:defRPr>
                      </a:lvl5pPr>
                      <a:lvl6pPr marL="2285222" algn="l" defTabSz="914088" rtl="0" eaLnBrk="1" latinLnBrk="0" hangingPunct="1">
                        <a:defRPr sz="1800" b="1" kern="1200">
                          <a:solidFill>
                            <a:schemeClr val="lt1"/>
                          </a:solidFill>
                          <a:latin typeface="Verdana"/>
                          <a:ea typeface=""/>
                          <a:cs typeface=""/>
                        </a:defRPr>
                      </a:lvl6pPr>
                      <a:lvl7pPr marL="2742267" algn="l" defTabSz="914088" rtl="0" eaLnBrk="1" latinLnBrk="0" hangingPunct="1">
                        <a:defRPr sz="1800" b="1" kern="1200">
                          <a:solidFill>
                            <a:schemeClr val="lt1"/>
                          </a:solidFill>
                          <a:latin typeface="Verdana"/>
                          <a:ea typeface=""/>
                          <a:cs typeface=""/>
                        </a:defRPr>
                      </a:lvl7pPr>
                      <a:lvl8pPr marL="3199311" algn="l" defTabSz="914088" rtl="0" eaLnBrk="1" latinLnBrk="0" hangingPunct="1">
                        <a:defRPr sz="1800" b="1" kern="1200">
                          <a:solidFill>
                            <a:schemeClr val="lt1"/>
                          </a:solidFill>
                          <a:latin typeface="Verdana"/>
                          <a:ea typeface=""/>
                          <a:cs typeface=""/>
                        </a:defRPr>
                      </a:lvl8pPr>
                      <a:lvl9pPr marL="3656358" algn="l" defTabSz="914088" rtl="0" eaLnBrk="1" latinLnBrk="0" hangingPunct="1">
                        <a:defRPr sz="1800" b="1" kern="1200">
                          <a:solidFill>
                            <a:schemeClr val="lt1"/>
                          </a:solidFill>
                          <a:latin typeface="Verdana"/>
                          <a:ea typeface=""/>
                          <a:cs typeface=""/>
                        </a:defRPr>
                      </a:lvl9pPr>
                    </a:lstStyle>
                    <a:p>
                      <a:r>
                        <a:rPr lang="en-GB" sz="1400" dirty="0">
                          <a:solidFill>
                            <a:schemeClr val="tx1"/>
                          </a:solidFill>
                        </a:rPr>
                        <a:t>Key</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088" rtl="0" eaLnBrk="1" latinLnBrk="0" hangingPunct="1">
                        <a:defRPr sz="1800" b="1" kern="1200">
                          <a:solidFill>
                            <a:schemeClr val="lt1"/>
                          </a:solidFill>
                          <a:latin typeface="Verdana"/>
                          <a:ea typeface=""/>
                          <a:cs typeface=""/>
                        </a:defRPr>
                      </a:lvl1pPr>
                      <a:lvl2pPr marL="457044" algn="l" defTabSz="914088" rtl="0" eaLnBrk="1" latinLnBrk="0" hangingPunct="1">
                        <a:defRPr sz="1800" b="1" kern="1200">
                          <a:solidFill>
                            <a:schemeClr val="lt1"/>
                          </a:solidFill>
                          <a:latin typeface="Verdana"/>
                          <a:ea typeface=""/>
                          <a:cs typeface=""/>
                        </a:defRPr>
                      </a:lvl2pPr>
                      <a:lvl3pPr marL="914088" algn="l" defTabSz="914088" rtl="0" eaLnBrk="1" latinLnBrk="0" hangingPunct="1">
                        <a:defRPr sz="1800" b="1" kern="1200">
                          <a:solidFill>
                            <a:schemeClr val="lt1"/>
                          </a:solidFill>
                          <a:latin typeface="Verdana"/>
                          <a:ea typeface=""/>
                          <a:cs typeface=""/>
                        </a:defRPr>
                      </a:lvl3pPr>
                      <a:lvl4pPr marL="1371133" algn="l" defTabSz="914088" rtl="0" eaLnBrk="1" latinLnBrk="0" hangingPunct="1">
                        <a:defRPr sz="1800" b="1" kern="1200">
                          <a:solidFill>
                            <a:schemeClr val="lt1"/>
                          </a:solidFill>
                          <a:latin typeface="Verdana"/>
                          <a:ea typeface=""/>
                          <a:cs typeface=""/>
                        </a:defRPr>
                      </a:lvl4pPr>
                      <a:lvl5pPr marL="1828178" algn="l" defTabSz="914088" rtl="0" eaLnBrk="1" latinLnBrk="0" hangingPunct="1">
                        <a:defRPr sz="1800" b="1" kern="1200">
                          <a:solidFill>
                            <a:schemeClr val="lt1"/>
                          </a:solidFill>
                          <a:latin typeface="Verdana"/>
                          <a:ea typeface=""/>
                          <a:cs typeface=""/>
                        </a:defRPr>
                      </a:lvl5pPr>
                      <a:lvl6pPr marL="2285222" algn="l" defTabSz="914088" rtl="0" eaLnBrk="1" latinLnBrk="0" hangingPunct="1">
                        <a:defRPr sz="1800" b="1" kern="1200">
                          <a:solidFill>
                            <a:schemeClr val="lt1"/>
                          </a:solidFill>
                          <a:latin typeface="Verdana"/>
                          <a:ea typeface=""/>
                          <a:cs typeface=""/>
                        </a:defRPr>
                      </a:lvl6pPr>
                      <a:lvl7pPr marL="2742267" algn="l" defTabSz="914088" rtl="0" eaLnBrk="1" latinLnBrk="0" hangingPunct="1">
                        <a:defRPr sz="1800" b="1" kern="1200">
                          <a:solidFill>
                            <a:schemeClr val="lt1"/>
                          </a:solidFill>
                          <a:latin typeface="Verdana"/>
                          <a:ea typeface=""/>
                          <a:cs typeface=""/>
                        </a:defRPr>
                      </a:lvl7pPr>
                      <a:lvl8pPr marL="3199311" algn="l" defTabSz="914088" rtl="0" eaLnBrk="1" latinLnBrk="0" hangingPunct="1">
                        <a:defRPr sz="1800" b="1" kern="1200">
                          <a:solidFill>
                            <a:schemeClr val="lt1"/>
                          </a:solidFill>
                          <a:latin typeface="Verdana"/>
                          <a:ea typeface=""/>
                          <a:cs typeface=""/>
                        </a:defRPr>
                      </a:lvl8pPr>
                      <a:lvl9pPr marL="3656358" algn="l" defTabSz="914088" rtl="0" eaLnBrk="1" latinLnBrk="0" hangingPunct="1">
                        <a:defRPr sz="1800" b="1" kern="1200">
                          <a:solidFill>
                            <a:schemeClr val="lt1"/>
                          </a:solidFill>
                          <a:latin typeface="Verdana"/>
                          <a:ea typeface=""/>
                          <a:cs typeface=""/>
                        </a:defRPr>
                      </a:lvl9pPr>
                    </a:lstStyle>
                    <a:p>
                      <a:r>
                        <a:rPr lang="en-GB" sz="1400" dirty="0">
                          <a:solidFill>
                            <a:schemeClr val="tx1"/>
                          </a:solidFill>
                        </a:rPr>
                        <a:t>Value</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222391">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err="1">
                          <a:solidFill>
                            <a:schemeClr val="tx1"/>
                          </a:solidFill>
                        </a:rPr>
                        <a:t>Fusce</a:t>
                      </a:r>
                      <a:endParaRPr lang="en-GB" sz="14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1"/>
                  </a:ext>
                </a:extLst>
              </a:tr>
              <a:tr h="222391">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magma</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2"/>
                  </a:ext>
                </a:extLst>
              </a:tr>
              <a:tr h="222391">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err="1">
                          <a:solidFill>
                            <a:schemeClr val="tx1"/>
                          </a:solidFill>
                        </a:rPr>
                        <a:t>sed</a:t>
                      </a:r>
                      <a:endParaRPr lang="en-GB" sz="14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3"/>
                  </a:ext>
                </a:extLst>
              </a:tr>
              <a:tr h="222391">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si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4"/>
                  </a:ext>
                </a:extLst>
              </a:tr>
              <a:tr h="222391">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err="1">
                          <a:solidFill>
                            <a:schemeClr val="tx1"/>
                          </a:solidFill>
                        </a:rPr>
                        <a:t>amet</a:t>
                      </a:r>
                      <a:endParaRPr lang="en-GB" sz="14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5"/>
                  </a:ext>
                </a:extLst>
              </a:tr>
              <a:tr h="222391">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magma</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r>
                        <a:rPr lang="en-GB" sz="1400" dirty="0">
                          <a:solidFill>
                            <a:schemeClr val="tx1"/>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6"/>
                  </a:ext>
                </a:extLst>
              </a:tr>
            </a:tbl>
          </a:graphicData>
        </a:graphic>
      </p:graphicFrame>
      <p:sp>
        <p:nvSpPr>
          <p:cNvPr id="7" name="Left Brace 6"/>
          <p:cNvSpPr/>
          <p:nvPr/>
        </p:nvSpPr>
        <p:spPr bwMode="auto">
          <a:xfrm>
            <a:off x="1229966" y="954438"/>
            <a:ext cx="45719" cy="193030"/>
          </a:xfrm>
          <a:prstGeom prst="leftBrace">
            <a:avLst/>
          </a:prstGeom>
          <a:noFill/>
          <a:ln w="25400" cap="flat" cmpd="sng" algn="ctr">
            <a:solidFill>
              <a:srgbClr val="000000"/>
            </a:solidFill>
            <a:prstDash val="solid"/>
            <a:headEnd type="none" w="med" len="med"/>
            <a:tailEnd type="none" w="med" len="med"/>
          </a:ln>
          <a:effectLst>
            <a:outerShdw blurRad="40000" dist="20000" dir="5400000" rotWithShape="0">
              <a:srgbClr val="000000">
                <a:alpha val="38000"/>
              </a:srgbClr>
            </a:outerShdw>
          </a:effectLst>
        </p:spPr>
        <p:txBody>
          <a:bodyPr vert="horz" wrap="square" lIns="182880" tIns="45720" rIns="18288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800" b="1" i="0" u="none" strike="noStrike" kern="0" cap="none" spc="0" normalizeH="0" baseline="0" noProof="0">
              <a:ln>
                <a:noFill/>
              </a:ln>
              <a:solidFill>
                <a:srgbClr val="000000"/>
              </a:solidFill>
              <a:effectLst/>
              <a:uLnTx/>
              <a:uFillTx/>
              <a:latin typeface="Verdana" pitchFamily="34" charset="0"/>
            </a:endParaRPr>
          </a:p>
        </p:txBody>
      </p:sp>
      <p:sp>
        <p:nvSpPr>
          <p:cNvPr id="8" name="Left Brace 7"/>
          <p:cNvSpPr/>
          <p:nvPr/>
        </p:nvSpPr>
        <p:spPr bwMode="auto">
          <a:xfrm flipH="1">
            <a:off x="4364935" y="1176340"/>
            <a:ext cx="45719" cy="193030"/>
          </a:xfrm>
          <a:prstGeom prst="leftBrace">
            <a:avLst/>
          </a:prstGeom>
          <a:noFill/>
          <a:ln w="25400" cap="flat" cmpd="sng" algn="ctr">
            <a:solidFill>
              <a:srgbClr val="000000"/>
            </a:solidFill>
            <a:prstDash val="solid"/>
            <a:headEnd type="none" w="med" len="med"/>
            <a:tailEnd type="none" w="med" len="med"/>
          </a:ln>
          <a:effectLst>
            <a:outerShdw blurRad="40000" dist="20000" dir="5400000" rotWithShape="0">
              <a:srgbClr val="000000">
                <a:alpha val="38000"/>
              </a:srgbClr>
            </a:outerShdw>
          </a:effectLst>
        </p:spPr>
        <p:txBody>
          <a:bodyPr vert="horz" wrap="square" lIns="182880" tIns="45720" rIns="18288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800" b="1" i="0" u="none" strike="noStrike" kern="0" cap="none" spc="0" normalizeH="0" baseline="0" noProof="0">
              <a:ln>
                <a:noFill/>
              </a:ln>
              <a:solidFill>
                <a:srgbClr val="000000"/>
              </a:solidFill>
              <a:effectLst/>
              <a:uLnTx/>
              <a:uFillTx/>
              <a:latin typeface="Verdana" pitchFamily="34" charset="0"/>
            </a:endParaRPr>
          </a:p>
        </p:txBody>
      </p:sp>
      <p:cxnSp>
        <p:nvCxnSpPr>
          <p:cNvPr id="9" name="Elbow Connector 8"/>
          <p:cNvCxnSpPr>
            <a:stCxn id="7" idx="1"/>
            <a:endCxn id="5" idx="0"/>
          </p:cNvCxnSpPr>
          <p:nvPr/>
        </p:nvCxnSpPr>
        <p:spPr bwMode="auto">
          <a:xfrm rot="10800000" flipH="1" flipV="1">
            <a:off x="1229966" y="1050953"/>
            <a:ext cx="780388" cy="635116"/>
          </a:xfrm>
          <a:prstGeom prst="bentConnector4">
            <a:avLst>
              <a:gd name="adj1" fmla="val -29293"/>
              <a:gd name="adj2" fmla="val 65110"/>
            </a:avLst>
          </a:prstGeom>
          <a:noFill/>
          <a:ln w="25400" cap="flat" cmpd="sng" algn="ctr">
            <a:solidFill>
              <a:srgbClr val="000000"/>
            </a:solidFill>
            <a:prstDash val="solid"/>
            <a:headEnd type="none" w="med" len="med"/>
            <a:tailEnd type="triangle"/>
          </a:ln>
          <a:effectLst>
            <a:outerShdw blurRad="40000" dist="20000" dir="5400000" rotWithShape="0">
              <a:srgbClr val="000000">
                <a:alpha val="38000"/>
              </a:srgbClr>
            </a:outerShdw>
          </a:effectLst>
        </p:spPr>
      </p:cxnSp>
      <p:cxnSp>
        <p:nvCxnSpPr>
          <p:cNvPr id="10" name="Elbow Connector 9"/>
          <p:cNvCxnSpPr>
            <a:stCxn id="8" idx="1"/>
            <a:endCxn id="6" idx="0"/>
          </p:cNvCxnSpPr>
          <p:nvPr/>
        </p:nvCxnSpPr>
        <p:spPr bwMode="auto">
          <a:xfrm>
            <a:off x="4410654" y="1272855"/>
            <a:ext cx="232410" cy="405594"/>
          </a:xfrm>
          <a:prstGeom prst="bentConnector2">
            <a:avLst/>
          </a:prstGeom>
          <a:noFill/>
          <a:ln w="25400" cap="flat" cmpd="sng" algn="ctr">
            <a:solidFill>
              <a:srgbClr val="000000"/>
            </a:solidFill>
            <a:prstDash val="solid"/>
            <a:headEnd type="none" w="med" len="med"/>
            <a:tailEnd type="triangle"/>
          </a:ln>
          <a:effectLst>
            <a:outerShdw blurRad="40000" dist="20000" dir="5400000" rotWithShape="0">
              <a:srgbClr val="000000">
                <a:alpha val="38000"/>
              </a:srgbClr>
            </a:outerShdw>
          </a:effectLst>
        </p:spPr>
      </p:cxnSp>
      <p:graphicFrame>
        <p:nvGraphicFramePr>
          <p:cNvPr id="11" name="Table 10"/>
          <p:cNvGraphicFramePr>
            <a:graphicFrameLocks noGrp="1"/>
          </p:cNvGraphicFramePr>
          <p:nvPr>
            <p:extLst/>
          </p:nvPr>
        </p:nvGraphicFramePr>
        <p:xfrm>
          <a:off x="2391023" y="4426645"/>
          <a:ext cx="2194560" cy="2327988"/>
        </p:xfrm>
        <a:graphic>
          <a:graphicData uri="http://schemas.openxmlformats.org/drawingml/2006/table">
            <a:tbl>
              <a:tblPr firstRow="1" bandRow="1"/>
              <a:tblGrid>
                <a:gridCol w="1196340">
                  <a:extLst>
                    <a:ext uri="{9D8B030D-6E8A-4147-A177-3AD203B41FA5}">
                      <a16:colId xmlns:a16="http://schemas.microsoft.com/office/drawing/2014/main" val="20000"/>
                    </a:ext>
                  </a:extLst>
                </a:gridCol>
                <a:gridCol w="998220">
                  <a:extLst>
                    <a:ext uri="{9D8B030D-6E8A-4147-A177-3AD203B41FA5}">
                      <a16:colId xmlns:a16="http://schemas.microsoft.com/office/drawing/2014/main" val="20001"/>
                    </a:ext>
                  </a:extLst>
                </a:gridCol>
              </a:tblGrid>
              <a:tr h="310996">
                <a:tc>
                  <a:txBody>
                    <a:bodyPr/>
                    <a:lstStyle>
                      <a:lvl1pPr marL="0" algn="l" defTabSz="914088" rtl="0" eaLnBrk="1" latinLnBrk="0" hangingPunct="1">
                        <a:defRPr sz="1800" b="1" kern="1200">
                          <a:solidFill>
                            <a:schemeClr val="lt1"/>
                          </a:solidFill>
                          <a:latin typeface="Verdana"/>
                          <a:ea typeface=""/>
                          <a:cs typeface=""/>
                        </a:defRPr>
                      </a:lvl1pPr>
                      <a:lvl2pPr marL="457044" algn="l" defTabSz="914088" rtl="0" eaLnBrk="1" latinLnBrk="0" hangingPunct="1">
                        <a:defRPr sz="1800" b="1" kern="1200">
                          <a:solidFill>
                            <a:schemeClr val="lt1"/>
                          </a:solidFill>
                          <a:latin typeface="Verdana"/>
                          <a:ea typeface=""/>
                          <a:cs typeface=""/>
                        </a:defRPr>
                      </a:lvl2pPr>
                      <a:lvl3pPr marL="914088" algn="l" defTabSz="914088" rtl="0" eaLnBrk="1" latinLnBrk="0" hangingPunct="1">
                        <a:defRPr sz="1800" b="1" kern="1200">
                          <a:solidFill>
                            <a:schemeClr val="lt1"/>
                          </a:solidFill>
                          <a:latin typeface="Verdana"/>
                          <a:ea typeface=""/>
                          <a:cs typeface=""/>
                        </a:defRPr>
                      </a:lvl3pPr>
                      <a:lvl4pPr marL="1371133" algn="l" defTabSz="914088" rtl="0" eaLnBrk="1" latinLnBrk="0" hangingPunct="1">
                        <a:defRPr sz="1800" b="1" kern="1200">
                          <a:solidFill>
                            <a:schemeClr val="lt1"/>
                          </a:solidFill>
                          <a:latin typeface="Verdana"/>
                          <a:ea typeface=""/>
                          <a:cs typeface=""/>
                        </a:defRPr>
                      </a:lvl4pPr>
                      <a:lvl5pPr marL="1828178" algn="l" defTabSz="914088" rtl="0" eaLnBrk="1" latinLnBrk="0" hangingPunct="1">
                        <a:defRPr sz="1800" b="1" kern="1200">
                          <a:solidFill>
                            <a:schemeClr val="lt1"/>
                          </a:solidFill>
                          <a:latin typeface="Verdana"/>
                          <a:ea typeface=""/>
                          <a:cs typeface=""/>
                        </a:defRPr>
                      </a:lvl5pPr>
                      <a:lvl6pPr marL="2285222" algn="l" defTabSz="914088" rtl="0" eaLnBrk="1" latinLnBrk="0" hangingPunct="1">
                        <a:defRPr sz="1800" b="1" kern="1200">
                          <a:solidFill>
                            <a:schemeClr val="lt1"/>
                          </a:solidFill>
                          <a:latin typeface="Verdana"/>
                          <a:ea typeface=""/>
                          <a:cs typeface=""/>
                        </a:defRPr>
                      </a:lvl6pPr>
                      <a:lvl7pPr marL="2742267" algn="l" defTabSz="914088" rtl="0" eaLnBrk="1" latinLnBrk="0" hangingPunct="1">
                        <a:defRPr sz="1800" b="1" kern="1200">
                          <a:solidFill>
                            <a:schemeClr val="lt1"/>
                          </a:solidFill>
                          <a:latin typeface="Verdana"/>
                          <a:ea typeface=""/>
                          <a:cs typeface=""/>
                        </a:defRPr>
                      </a:lvl7pPr>
                      <a:lvl8pPr marL="3199311" algn="l" defTabSz="914088" rtl="0" eaLnBrk="1" latinLnBrk="0" hangingPunct="1">
                        <a:defRPr sz="1800" b="1" kern="1200">
                          <a:solidFill>
                            <a:schemeClr val="lt1"/>
                          </a:solidFill>
                          <a:latin typeface="Verdana"/>
                          <a:ea typeface=""/>
                          <a:cs typeface=""/>
                        </a:defRPr>
                      </a:lvl8pPr>
                      <a:lvl9pPr marL="3656358" algn="l" defTabSz="914088" rtl="0" eaLnBrk="1" latinLnBrk="0" hangingPunct="1">
                        <a:defRPr sz="1800" b="1" kern="1200">
                          <a:solidFill>
                            <a:schemeClr val="lt1"/>
                          </a:solidFill>
                          <a:latin typeface="Verdana"/>
                          <a:ea typeface=""/>
                          <a:cs typeface=""/>
                        </a:defRPr>
                      </a:lvl9pPr>
                    </a:lstStyle>
                    <a:p>
                      <a:r>
                        <a:rPr lang="en-GB" sz="1400" dirty="0">
                          <a:solidFill>
                            <a:schemeClr val="tx1"/>
                          </a:solidFill>
                          <a:latin typeface="Verdana" panose="020B0604030504040204" pitchFamily="34" charset="0"/>
                          <a:ea typeface="Verdana" panose="020B0604030504040204" pitchFamily="34" charset="0"/>
                          <a:cs typeface="Verdana" panose="020B0604030504040204" pitchFamily="34" charset="0"/>
                        </a:rPr>
                        <a:t>Key</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088" rtl="0" eaLnBrk="1" latinLnBrk="0" hangingPunct="1">
                        <a:defRPr sz="1800" b="1" kern="1200">
                          <a:solidFill>
                            <a:schemeClr val="lt1"/>
                          </a:solidFill>
                          <a:latin typeface="Verdana"/>
                          <a:ea typeface=""/>
                          <a:cs typeface=""/>
                        </a:defRPr>
                      </a:lvl1pPr>
                      <a:lvl2pPr marL="457044" algn="l" defTabSz="914088" rtl="0" eaLnBrk="1" latinLnBrk="0" hangingPunct="1">
                        <a:defRPr sz="1800" b="1" kern="1200">
                          <a:solidFill>
                            <a:schemeClr val="lt1"/>
                          </a:solidFill>
                          <a:latin typeface="Verdana"/>
                          <a:ea typeface=""/>
                          <a:cs typeface=""/>
                        </a:defRPr>
                      </a:lvl2pPr>
                      <a:lvl3pPr marL="914088" algn="l" defTabSz="914088" rtl="0" eaLnBrk="1" latinLnBrk="0" hangingPunct="1">
                        <a:defRPr sz="1800" b="1" kern="1200">
                          <a:solidFill>
                            <a:schemeClr val="lt1"/>
                          </a:solidFill>
                          <a:latin typeface="Verdana"/>
                          <a:ea typeface=""/>
                          <a:cs typeface=""/>
                        </a:defRPr>
                      </a:lvl3pPr>
                      <a:lvl4pPr marL="1371133" algn="l" defTabSz="914088" rtl="0" eaLnBrk="1" latinLnBrk="0" hangingPunct="1">
                        <a:defRPr sz="1800" b="1" kern="1200">
                          <a:solidFill>
                            <a:schemeClr val="lt1"/>
                          </a:solidFill>
                          <a:latin typeface="Verdana"/>
                          <a:ea typeface=""/>
                          <a:cs typeface=""/>
                        </a:defRPr>
                      </a:lvl4pPr>
                      <a:lvl5pPr marL="1828178" algn="l" defTabSz="914088" rtl="0" eaLnBrk="1" latinLnBrk="0" hangingPunct="1">
                        <a:defRPr sz="1800" b="1" kern="1200">
                          <a:solidFill>
                            <a:schemeClr val="lt1"/>
                          </a:solidFill>
                          <a:latin typeface="Verdana"/>
                          <a:ea typeface=""/>
                          <a:cs typeface=""/>
                        </a:defRPr>
                      </a:lvl5pPr>
                      <a:lvl6pPr marL="2285222" algn="l" defTabSz="914088" rtl="0" eaLnBrk="1" latinLnBrk="0" hangingPunct="1">
                        <a:defRPr sz="1800" b="1" kern="1200">
                          <a:solidFill>
                            <a:schemeClr val="lt1"/>
                          </a:solidFill>
                          <a:latin typeface="Verdana"/>
                          <a:ea typeface=""/>
                          <a:cs typeface=""/>
                        </a:defRPr>
                      </a:lvl6pPr>
                      <a:lvl7pPr marL="2742267" algn="l" defTabSz="914088" rtl="0" eaLnBrk="1" latinLnBrk="0" hangingPunct="1">
                        <a:defRPr sz="1800" b="1" kern="1200">
                          <a:solidFill>
                            <a:schemeClr val="lt1"/>
                          </a:solidFill>
                          <a:latin typeface="Verdana"/>
                          <a:ea typeface=""/>
                          <a:cs typeface=""/>
                        </a:defRPr>
                      </a:lvl7pPr>
                      <a:lvl8pPr marL="3199311" algn="l" defTabSz="914088" rtl="0" eaLnBrk="1" latinLnBrk="0" hangingPunct="1">
                        <a:defRPr sz="1800" b="1" kern="1200">
                          <a:solidFill>
                            <a:schemeClr val="lt1"/>
                          </a:solidFill>
                          <a:latin typeface="Verdana"/>
                          <a:ea typeface=""/>
                          <a:cs typeface=""/>
                        </a:defRPr>
                      </a:lvl8pPr>
                      <a:lvl9pPr marL="3656358" algn="l" defTabSz="914088" rtl="0" eaLnBrk="1" latinLnBrk="0" hangingPunct="1">
                        <a:defRPr sz="1800" b="1" kern="1200">
                          <a:solidFill>
                            <a:schemeClr val="lt1"/>
                          </a:solidFill>
                          <a:latin typeface="Verdana"/>
                          <a:ea typeface=""/>
                          <a:cs typeface=""/>
                        </a:defRPr>
                      </a:lvl9pPr>
                    </a:lstStyle>
                    <a:p>
                      <a:r>
                        <a:rPr lang="en-GB" sz="1400" dirty="0">
                          <a:solidFill>
                            <a:schemeClr val="tx1"/>
                          </a:solidFill>
                          <a:latin typeface="Verdana" panose="020B0604030504040204" pitchFamily="34" charset="0"/>
                          <a:ea typeface="Verdana" panose="020B0604030504040204" pitchFamily="34" charset="0"/>
                          <a:cs typeface="Verdana" panose="020B0604030504040204" pitchFamily="34" charset="0"/>
                        </a:rPr>
                        <a:t>Value</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252124">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err="1">
                          <a:solidFill>
                            <a:schemeClr val="tx1"/>
                          </a:solidFill>
                          <a:latin typeface="Verdana" panose="020B0604030504040204" pitchFamily="34" charset="0"/>
                          <a:ea typeface="Verdana" panose="020B0604030504040204" pitchFamily="34" charset="0"/>
                          <a:cs typeface="Verdana" panose="020B0604030504040204" pitchFamily="34" charset="0"/>
                        </a:rPr>
                        <a:t>Lorem</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a:solidFill>
                            <a:schemeClr val="tx1"/>
                          </a:solidFill>
                          <a:latin typeface="Verdana" panose="020B0604030504040204" pitchFamily="34" charset="0"/>
                          <a:ea typeface="Verdana" panose="020B0604030504040204" pitchFamily="34" charset="0"/>
                          <a:cs typeface="Verdana" panose="020B0604030504040204" pitchFamily="34" charset="0"/>
                        </a:rPr>
                        <a:t>1</a:t>
                      </a:r>
                      <a:endParaRPr lang="en-GB" sz="14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1"/>
                  </a:ext>
                </a:extLst>
              </a:tr>
              <a:tr h="252124">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err="1">
                          <a:solidFill>
                            <a:schemeClr val="tx1"/>
                          </a:solidFill>
                          <a:latin typeface="Verdana" panose="020B0604030504040204" pitchFamily="34" charset="0"/>
                          <a:ea typeface="Verdana" panose="020B0604030504040204" pitchFamily="34" charset="0"/>
                          <a:cs typeface="Verdana" panose="020B0604030504040204" pitchFamily="34" charset="0"/>
                        </a:rPr>
                        <a:t>ipsum</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2"/>
                  </a:ext>
                </a:extLst>
              </a:tr>
              <a:tr h="252124">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a:solidFill>
                            <a:schemeClr val="tx1"/>
                          </a:solidFill>
                          <a:latin typeface="Verdana" panose="020B0604030504040204" pitchFamily="34" charset="0"/>
                          <a:ea typeface="Verdana" panose="020B0604030504040204" pitchFamily="34" charset="0"/>
                          <a:cs typeface="Verdana" panose="020B0604030504040204" pitchFamily="34" charset="0"/>
                        </a:rPr>
                        <a:t>sit</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a:solidFill>
                            <a:schemeClr val="tx1"/>
                          </a:solidFill>
                          <a:latin typeface="Verdana" panose="020B0604030504040204" pitchFamily="34" charset="0"/>
                          <a:ea typeface="Verdana" panose="020B0604030504040204" pitchFamily="34" charset="0"/>
                          <a:cs typeface="Verdana" panose="020B0604030504040204" pitchFamily="34" charset="0"/>
                        </a:rPr>
                        <a:t>3</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3"/>
                  </a:ext>
                </a:extLst>
              </a:tr>
              <a:tr h="252124">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err="1">
                          <a:solidFill>
                            <a:schemeClr val="tx1"/>
                          </a:solidFill>
                          <a:latin typeface="Verdana" panose="020B0604030504040204" pitchFamily="34" charset="0"/>
                          <a:ea typeface="Verdana" panose="020B0604030504040204" pitchFamily="34" charset="0"/>
                          <a:cs typeface="Verdana" panose="020B0604030504040204" pitchFamily="34" charset="0"/>
                        </a:rPr>
                        <a:t>amet</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a:solidFill>
                            <a:schemeClr val="tx1"/>
                          </a:solidFill>
                          <a:latin typeface="Verdana" panose="020B0604030504040204" pitchFamily="34" charset="0"/>
                          <a:ea typeface="Verdana" panose="020B0604030504040204" pitchFamily="34" charset="0"/>
                          <a:cs typeface="Verdana" panose="020B0604030504040204" pitchFamily="34" charset="0"/>
                        </a:rPr>
                        <a:t>2</a:t>
                      </a:r>
                      <a:endParaRPr lang="en-GB" sz="14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4"/>
                  </a:ext>
                </a:extLst>
              </a:tr>
              <a:tr h="252124">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a:solidFill>
                            <a:schemeClr val="tx1"/>
                          </a:solidFill>
                          <a:latin typeface="Verdana" panose="020B0604030504040204" pitchFamily="34" charset="0"/>
                          <a:ea typeface="Verdana" panose="020B0604030504040204" pitchFamily="34" charset="0"/>
                          <a:cs typeface="Verdana" panose="020B0604030504040204" pitchFamily="34" charset="0"/>
                        </a:rPr>
                        <a:t>magma</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a:solidFill>
                            <a:schemeClr val="tx1"/>
                          </a:solidFill>
                          <a:latin typeface="Verdana" panose="020B0604030504040204" pitchFamily="34" charset="0"/>
                          <a:ea typeface="Verdana" panose="020B0604030504040204" pitchFamily="34" charset="0"/>
                          <a:cs typeface="Verdana" panose="020B0604030504040204" pitchFamily="34" charset="0"/>
                        </a:rPr>
                        <a:t>3</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5"/>
                  </a:ext>
                </a:extLst>
              </a:tr>
              <a:tr h="252124">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a:solidFill>
                            <a:schemeClr val="tx1"/>
                          </a:solidFill>
                          <a:latin typeface="Verdana" panose="020B0604030504040204" pitchFamily="34" charset="0"/>
                          <a:ea typeface="Verdana" panose="020B0604030504040204" pitchFamily="34" charset="0"/>
                          <a:cs typeface="Verdana" panose="020B0604030504040204" pitchFamily="34" charset="0"/>
                        </a:rPr>
                        <a:t>elit</a:t>
                      </a:r>
                      <a:endParaRPr lang="en-GB" sz="14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6"/>
                  </a:ext>
                </a:extLst>
              </a:tr>
              <a:tr h="252124">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a:solidFill>
                            <a:schemeClr val="tx1"/>
                          </a:solidFill>
                          <a:latin typeface="Verdana" panose="020B0604030504040204" pitchFamily="34" charset="0"/>
                          <a:ea typeface="Verdana" panose="020B0604030504040204" pitchFamily="34" charset="0"/>
                          <a:cs typeface="Verdana" panose="020B0604030504040204" pitchFamily="34" charset="0"/>
                        </a:rPr>
                        <a:t>Fusce</a:t>
                      </a:r>
                      <a:endParaRPr lang="en-GB" sz="14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40000"/>
                      </a:srgbClr>
                    </a:solidFill>
                  </a:tcPr>
                </a:tc>
                <a:extLst>
                  <a:ext uri="{0D108BD9-81ED-4DB2-BD59-A6C34878D82A}">
                    <a16:rowId xmlns:a16="http://schemas.microsoft.com/office/drawing/2014/main" val="10007"/>
                  </a:ext>
                </a:extLst>
              </a:tr>
              <a:tr h="252124">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a:solidFill>
                            <a:schemeClr val="tx1"/>
                          </a:solidFill>
                          <a:latin typeface="Verdana" panose="020B0604030504040204" pitchFamily="34" charset="0"/>
                          <a:ea typeface="Verdana" panose="020B0604030504040204" pitchFamily="34" charset="0"/>
                          <a:cs typeface="Verdana" panose="020B0604030504040204" pitchFamily="34" charset="0"/>
                        </a:rPr>
                        <a:t>sed</a:t>
                      </a:r>
                      <a:endParaRPr lang="en-GB" sz="1400" kern="120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tc>
                  <a:txBody>
                    <a:bodyPr/>
                    <a:lstStyle>
                      <a:lvl1pPr marL="0" algn="l" defTabSz="914088" rtl="0" eaLnBrk="1" latinLnBrk="0" hangingPunct="1">
                        <a:defRPr sz="1800" kern="1200">
                          <a:solidFill>
                            <a:schemeClr val="dk1"/>
                          </a:solidFill>
                          <a:latin typeface="Verdana"/>
                          <a:ea typeface=""/>
                          <a:cs typeface=""/>
                        </a:defRPr>
                      </a:lvl1pPr>
                      <a:lvl2pPr marL="457044" algn="l" defTabSz="914088" rtl="0" eaLnBrk="1" latinLnBrk="0" hangingPunct="1">
                        <a:defRPr sz="1800" kern="1200">
                          <a:solidFill>
                            <a:schemeClr val="dk1"/>
                          </a:solidFill>
                          <a:latin typeface="Verdana"/>
                          <a:ea typeface=""/>
                          <a:cs typeface=""/>
                        </a:defRPr>
                      </a:lvl2pPr>
                      <a:lvl3pPr marL="914088" algn="l" defTabSz="914088" rtl="0" eaLnBrk="1" latinLnBrk="0" hangingPunct="1">
                        <a:defRPr sz="1800" kern="1200">
                          <a:solidFill>
                            <a:schemeClr val="dk1"/>
                          </a:solidFill>
                          <a:latin typeface="Verdana"/>
                          <a:ea typeface=""/>
                          <a:cs typeface=""/>
                        </a:defRPr>
                      </a:lvl3pPr>
                      <a:lvl4pPr marL="1371133" algn="l" defTabSz="914088" rtl="0" eaLnBrk="1" latinLnBrk="0" hangingPunct="1">
                        <a:defRPr sz="1800" kern="1200">
                          <a:solidFill>
                            <a:schemeClr val="dk1"/>
                          </a:solidFill>
                          <a:latin typeface="Verdana"/>
                          <a:ea typeface=""/>
                          <a:cs typeface=""/>
                        </a:defRPr>
                      </a:lvl4pPr>
                      <a:lvl5pPr marL="1828178" algn="l" defTabSz="914088" rtl="0" eaLnBrk="1" latinLnBrk="0" hangingPunct="1">
                        <a:defRPr sz="1800" kern="1200">
                          <a:solidFill>
                            <a:schemeClr val="dk1"/>
                          </a:solidFill>
                          <a:latin typeface="Verdana"/>
                          <a:ea typeface=""/>
                          <a:cs typeface=""/>
                        </a:defRPr>
                      </a:lvl5pPr>
                      <a:lvl6pPr marL="2285222" algn="l" defTabSz="914088" rtl="0" eaLnBrk="1" latinLnBrk="0" hangingPunct="1">
                        <a:defRPr sz="1800" kern="1200">
                          <a:solidFill>
                            <a:schemeClr val="dk1"/>
                          </a:solidFill>
                          <a:latin typeface="Verdana"/>
                          <a:ea typeface=""/>
                          <a:cs typeface=""/>
                        </a:defRPr>
                      </a:lvl6pPr>
                      <a:lvl7pPr marL="2742267" algn="l" defTabSz="914088" rtl="0" eaLnBrk="1" latinLnBrk="0" hangingPunct="1">
                        <a:defRPr sz="1800" kern="1200">
                          <a:solidFill>
                            <a:schemeClr val="dk1"/>
                          </a:solidFill>
                          <a:latin typeface="Verdana"/>
                          <a:ea typeface=""/>
                          <a:cs typeface=""/>
                        </a:defRPr>
                      </a:lvl7pPr>
                      <a:lvl8pPr marL="3199311" algn="l" defTabSz="914088" rtl="0" eaLnBrk="1" latinLnBrk="0" hangingPunct="1">
                        <a:defRPr sz="1800" kern="1200">
                          <a:solidFill>
                            <a:schemeClr val="dk1"/>
                          </a:solidFill>
                          <a:latin typeface="Verdana"/>
                          <a:ea typeface=""/>
                          <a:cs typeface=""/>
                        </a:defRPr>
                      </a:lvl8pPr>
                      <a:lvl9pPr marL="3656358" algn="l" defTabSz="914088" rtl="0" eaLnBrk="1" latinLnBrk="0" hangingPunct="1">
                        <a:defRPr sz="1800" kern="1200">
                          <a:solidFill>
                            <a:schemeClr val="dk1"/>
                          </a:solidFill>
                          <a:latin typeface="Verdana"/>
                          <a:ea typeface=""/>
                          <a:cs typeface=""/>
                        </a:defRPr>
                      </a:lvl9pPr>
                    </a:lstStyle>
                    <a:p>
                      <a:pPr marL="0" algn="l" defTabSz="914400" rtl="0" eaLnBrk="1" latinLnBrk="0" hangingPunct="1">
                        <a:lnSpc>
                          <a:spcPct val="115000"/>
                        </a:lnSpc>
                        <a:spcAft>
                          <a:spcPts val="0"/>
                        </a:spcAft>
                      </a:pPr>
                      <a:r>
                        <a:rPr lang="en-US" sz="1400" kern="1200" dirty="0">
                          <a:solidFill>
                            <a:schemeClr val="tx1"/>
                          </a:solidFill>
                          <a:latin typeface="Verdana" panose="020B0604030504040204" pitchFamily="34" charset="0"/>
                          <a:ea typeface="Verdana" panose="020B0604030504040204" pitchFamily="34" charset="0"/>
                          <a:cs typeface="Verdana" panose="020B0604030504040204" pitchFamily="34" charset="0"/>
                        </a:rPr>
                        <a:t>1</a:t>
                      </a:r>
                      <a:endParaRPr lang="en-GB" sz="14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tint val="20000"/>
                      </a:srgbClr>
                    </a:solidFill>
                  </a:tcPr>
                </a:tc>
                <a:extLst>
                  <a:ext uri="{0D108BD9-81ED-4DB2-BD59-A6C34878D82A}">
                    <a16:rowId xmlns:a16="http://schemas.microsoft.com/office/drawing/2014/main" val="10008"/>
                  </a:ext>
                </a:extLst>
              </a:tr>
            </a:tbl>
          </a:graphicData>
        </a:graphic>
      </p:graphicFrame>
      <p:cxnSp>
        <p:nvCxnSpPr>
          <p:cNvPr id="12" name="Elbow Connector 11"/>
          <p:cNvCxnSpPr>
            <a:stCxn id="5" idx="2"/>
            <a:endCxn id="11" idx="0"/>
          </p:cNvCxnSpPr>
          <p:nvPr/>
        </p:nvCxnSpPr>
        <p:spPr bwMode="auto">
          <a:xfrm rot="16200000" flipH="1">
            <a:off x="2598240" y="3536582"/>
            <a:ext cx="302176" cy="1477949"/>
          </a:xfrm>
          <a:prstGeom prst="bentConnector3">
            <a:avLst>
              <a:gd name="adj1" fmla="val 50000"/>
            </a:avLst>
          </a:prstGeom>
          <a:noFill/>
          <a:ln w="25400" cap="flat" cmpd="sng" algn="ctr">
            <a:solidFill>
              <a:srgbClr val="000000"/>
            </a:solidFill>
            <a:prstDash val="solid"/>
            <a:headEnd type="none" w="med" len="med"/>
            <a:tailEnd type="triangle"/>
          </a:ln>
          <a:effectLst>
            <a:outerShdw blurRad="40000" dist="20000" dir="5400000" rotWithShape="0">
              <a:srgbClr val="000000">
                <a:alpha val="38000"/>
              </a:srgbClr>
            </a:outerShdw>
          </a:effectLst>
        </p:spPr>
      </p:cxnSp>
      <p:cxnSp>
        <p:nvCxnSpPr>
          <p:cNvPr id="13" name="Elbow Connector 12"/>
          <p:cNvCxnSpPr>
            <a:stCxn id="6" idx="2"/>
            <a:endCxn id="11" idx="0"/>
          </p:cNvCxnSpPr>
          <p:nvPr/>
        </p:nvCxnSpPr>
        <p:spPr bwMode="auto">
          <a:xfrm rot="5400000">
            <a:off x="3758386" y="3541967"/>
            <a:ext cx="614596" cy="1154761"/>
          </a:xfrm>
          <a:prstGeom prst="bentConnector3">
            <a:avLst>
              <a:gd name="adj1" fmla="val 75875"/>
            </a:avLst>
          </a:prstGeom>
          <a:noFill/>
          <a:ln w="25400" cap="flat" cmpd="sng" algn="ctr">
            <a:solidFill>
              <a:srgbClr val="000000"/>
            </a:solidFill>
            <a:prstDash val="solid"/>
            <a:headEnd type="none" w="med" len="med"/>
            <a:tailEnd type="triangle"/>
          </a:ln>
          <a:effectLst>
            <a:outerShdw blurRad="40000" dist="20000" dir="5400000" rotWithShape="0">
              <a:srgbClr val="000000">
                <a:alpha val="38000"/>
              </a:srgbClr>
            </a:outerShdw>
          </a:effectLst>
        </p:spPr>
      </p:cxnSp>
      <p:sp>
        <p:nvSpPr>
          <p:cNvPr id="39" name="TextBox 38"/>
          <p:cNvSpPr txBox="1"/>
          <p:nvPr/>
        </p:nvSpPr>
        <p:spPr>
          <a:xfrm rot="16200000">
            <a:off x="-177689" y="2413121"/>
            <a:ext cx="1114408" cy="64633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3600" b="1" i="0" u="none" strike="noStrike" kern="0" cap="none" spc="0" normalizeH="0" baseline="0" noProof="0" dirty="0">
                <a:ln>
                  <a:noFill/>
                </a:ln>
                <a:solidFill>
                  <a:schemeClr val="bg1">
                    <a:lumMod val="65000"/>
                  </a:schemeClr>
                </a:solidFill>
                <a:effectLst/>
                <a:uLnTx/>
                <a:uFillTx/>
              </a:rPr>
              <a:t>MAP</a:t>
            </a:r>
          </a:p>
        </p:txBody>
      </p:sp>
      <p:sp>
        <p:nvSpPr>
          <p:cNvPr id="40" name="TextBox 39"/>
          <p:cNvSpPr txBox="1"/>
          <p:nvPr/>
        </p:nvSpPr>
        <p:spPr>
          <a:xfrm rot="16200000">
            <a:off x="-485466" y="5316675"/>
            <a:ext cx="1729961" cy="64633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3600" b="1" i="0" u="none" strike="noStrike" kern="0" cap="none" spc="0" normalizeH="0" baseline="0" noProof="0" dirty="0">
                <a:ln>
                  <a:noFill/>
                </a:ln>
                <a:solidFill>
                  <a:schemeClr val="bg1">
                    <a:lumMod val="65000"/>
                  </a:schemeClr>
                </a:solidFill>
                <a:effectLst/>
                <a:uLnTx/>
                <a:uFillTx/>
              </a:rPr>
              <a:t>REDUCE</a:t>
            </a:r>
          </a:p>
        </p:txBody>
      </p:sp>
    </p:spTree>
    <p:extLst>
      <p:ext uri="{BB962C8B-B14F-4D97-AF65-F5344CB8AC3E}">
        <p14:creationId xmlns:p14="http://schemas.microsoft.com/office/powerpoint/2010/main" val="23528309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ap/Reduce Code in Hadoop</a:t>
            </a:r>
          </a:p>
        </p:txBody>
      </p:sp>
      <p:sp>
        <p:nvSpPr>
          <p:cNvPr id="3" name="Content Placeholder 2"/>
          <p:cNvSpPr>
            <a:spLocks noGrp="1"/>
          </p:cNvSpPr>
          <p:nvPr>
            <p:ph sz="quarter" idx="10"/>
          </p:nvPr>
        </p:nvSpPr>
        <p:spPr>
          <a:xfrm>
            <a:off x="99928" y="810705"/>
            <a:ext cx="9194901" cy="3699744"/>
          </a:xfrm>
        </p:spPr>
        <p:txBody>
          <a:bodyPr/>
          <a:lstStyle/>
          <a:p>
            <a:r>
              <a:rPr lang="en-GB" dirty="0"/>
              <a:t>Usually written in Java and compiled as a Jar</a:t>
            </a:r>
          </a:p>
        </p:txBody>
      </p:sp>
      <p:sp>
        <p:nvSpPr>
          <p:cNvPr id="5" name="Rectangle 4"/>
          <p:cNvSpPr/>
          <p:nvPr/>
        </p:nvSpPr>
        <p:spPr>
          <a:xfrm>
            <a:off x="235487" y="1940180"/>
            <a:ext cx="11812486" cy="493981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public static class Map extends Mapper&lt;</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LongWrit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Text, Text,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IntWrit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gt;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private final static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IntWrit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one = new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IntWrit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1);</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private Text word = new Text();</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public void map(</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LongWrit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key, Text value, Context context)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String line =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value.toString</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StringTokenizer</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tokenizer</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 new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StringTokenizer</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li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while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tokenizer.hasMoreTokens</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word.set</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tokenizer.nextToken</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context.writ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word, o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public static class Reduce extends Reducer&lt;Text,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IntWrit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Text,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IntWrit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gt;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public void reduce(Text key,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Iter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lt;</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IntWrit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gt; values, Context context){</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int</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sum = 0;</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for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IntWrit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val</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 values)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sum +=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val.get</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context.writ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key, new </a:t>
            </a:r>
            <a:r>
              <a:rPr kumimoji="0" lang="en-GB" sz="1500" b="0" i="0" u="none" strike="noStrike" kern="0" cap="none" spc="0" normalizeH="0" baseline="0" noProof="0" dirty="0" err="1">
                <a:ln>
                  <a:noFill/>
                </a:ln>
                <a:solidFill>
                  <a:sysClr val="windowText" lastClr="000000"/>
                </a:solidFill>
                <a:effectLst/>
                <a:uLnTx/>
                <a:uFillTx/>
                <a:latin typeface="Courier New" panose="02070309020205020404" pitchFamily="49" charset="0"/>
                <a:cs typeface="Courier New" panose="02070309020205020404" pitchFamily="49" charset="0"/>
              </a:rPr>
              <a:t>IntWritable</a:t>
            </a: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sum));</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ysClr val="windowText" lastClr="000000"/>
                </a:solidFill>
                <a:effectLst/>
                <a:uLnTx/>
                <a:uFillTx/>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25516458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1122" y="86481"/>
            <a:ext cx="10515600" cy="1325563"/>
          </a:xfrm>
        </p:spPr>
        <p:txBody>
          <a:bodyPr/>
          <a:lstStyle/>
          <a:p>
            <a:r>
              <a:rPr lang="en-US" dirty="0"/>
              <a:t>In this module </a:t>
            </a:r>
          </a:p>
        </p:txBody>
      </p:sp>
      <p:graphicFrame>
        <p:nvGraphicFramePr>
          <p:cNvPr id="14" name="Content Placeholder 13"/>
          <p:cNvGraphicFramePr>
            <a:graphicFrameLocks noGrp="1"/>
          </p:cNvGraphicFramePr>
          <p:nvPr>
            <p:ph sz="quarter" idx="10"/>
            <p:extLst>
              <p:ext uri="{D42A27DB-BD31-4B8C-83A1-F6EECF244321}">
                <p14:modId xmlns:p14="http://schemas.microsoft.com/office/powerpoint/2010/main" val="3225364446"/>
              </p:ext>
            </p:extLst>
          </p:nvPr>
        </p:nvGraphicFramePr>
        <p:xfrm>
          <a:off x="379413" y="1387475"/>
          <a:ext cx="11525250" cy="52911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2136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nteractive Data Ingestion</a:t>
            </a:r>
          </a:p>
        </p:txBody>
      </p:sp>
      <p:sp>
        <p:nvSpPr>
          <p:cNvPr id="7" name="Content Placeholder 6"/>
          <p:cNvSpPr>
            <a:spLocks noGrp="1"/>
          </p:cNvSpPr>
          <p:nvPr>
            <p:ph sz="quarter" idx="10"/>
          </p:nvPr>
        </p:nvSpPr>
        <p:spPr>
          <a:xfrm>
            <a:off x="379413" y="866728"/>
            <a:ext cx="11525250" cy="5705522"/>
          </a:xfrm>
        </p:spPr>
        <p:txBody>
          <a:bodyPr/>
          <a:lstStyle/>
          <a:p>
            <a:r>
              <a:rPr lang="en-US" dirty="0"/>
              <a:t>UI-based Tools</a:t>
            </a:r>
          </a:p>
          <a:p>
            <a:r>
              <a:rPr lang="en-US" dirty="0"/>
              <a:t>Code Supplier tool</a:t>
            </a:r>
          </a:p>
          <a:p>
            <a:r>
              <a:rPr lang="en-US" dirty="0" err="1"/>
              <a:t>Powershell</a:t>
            </a:r>
            <a:r>
              <a:rPr lang="en-US" dirty="0"/>
              <a:t> Commands</a:t>
            </a:r>
          </a:p>
          <a:p>
            <a:r>
              <a:rPr lang="en-US" dirty="0"/>
              <a:t>The Hadoop fs</a:t>
            </a:r>
          </a:p>
          <a:p>
            <a:r>
              <a:rPr lang="en-US" dirty="0"/>
              <a:t>Command line tool</a:t>
            </a:r>
          </a:p>
          <a:p>
            <a:pPr marL="457046" lvl="1" indent="0">
              <a:buNone/>
            </a:pPr>
            <a:endParaRPr lang="en-US" dirty="0"/>
          </a:p>
          <a:p>
            <a:pPr marL="457046" lvl="1" indent="0">
              <a:buNone/>
            </a:pPr>
            <a:endParaRPr lang="en-US" dirty="0"/>
          </a:p>
          <a:p>
            <a:pPr marL="457046" lvl="1" indent="0">
              <a:buNone/>
            </a:pPr>
            <a:endParaRPr lang="en-US" dirty="0"/>
          </a:p>
        </p:txBody>
      </p:sp>
      <p:sp>
        <p:nvSpPr>
          <p:cNvPr id="2" name="Slide Number Placeholder 1"/>
          <p:cNvSpPr>
            <a:spLocks noGrp="1"/>
          </p:cNvSpPr>
          <p:nvPr>
            <p:ph type="sldNum" sz="quarter" idx="4294967295"/>
          </p:nvPr>
        </p:nvSpPr>
        <p:spPr>
          <a:xfrm>
            <a:off x="11636375" y="6437313"/>
            <a:ext cx="555625" cy="134937"/>
          </a:xfrm>
          <a:prstGeom prst="rect">
            <a:avLst/>
          </a:prstGeom>
        </p:spPr>
        <p:txBody>
          <a:bodyPr/>
          <a:lstStyle/>
          <a:p>
            <a:pPr defTabSz="896386" fontAlgn="auto">
              <a:spcBef>
                <a:spcPts val="0"/>
              </a:spcBef>
              <a:spcAft>
                <a:spcPts val="0"/>
              </a:spcAft>
            </a:pPr>
            <a:fld id="{F8A0AC42-AA1D-4944-8D96-660DE70C7E1B}" type="slidenum">
              <a:rPr lang="en-IN" sz="1765" kern="0">
                <a:solidFill>
                  <a:sysClr val="windowText" lastClr="000000"/>
                </a:solidFill>
              </a:rPr>
              <a:pPr defTabSz="896386" fontAlgn="auto">
                <a:spcBef>
                  <a:spcPts val="0"/>
                </a:spcBef>
                <a:spcAft>
                  <a:spcPts val="0"/>
                </a:spcAft>
              </a:pPr>
              <a:t>8</a:t>
            </a:fld>
            <a:endParaRPr lang="en-IN" sz="1765" kern="0" dirty="0">
              <a:solidFill>
                <a:sysClr val="windowText" lastClr="000000"/>
              </a:solidFill>
            </a:endParaRPr>
          </a:p>
        </p:txBody>
      </p:sp>
    </p:spTree>
    <p:extLst>
      <p:ext uri="{BB962C8B-B14F-4D97-AF65-F5344CB8AC3E}">
        <p14:creationId xmlns:p14="http://schemas.microsoft.com/office/powerpoint/2010/main" val="26578770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oading Relational Data</a:t>
            </a:r>
          </a:p>
        </p:txBody>
      </p:sp>
      <p:sp>
        <p:nvSpPr>
          <p:cNvPr id="7" name="Content Placeholder 6"/>
          <p:cNvSpPr>
            <a:spLocks noGrp="1"/>
          </p:cNvSpPr>
          <p:nvPr>
            <p:ph sz="quarter" idx="10"/>
          </p:nvPr>
        </p:nvSpPr>
        <p:spPr>
          <a:xfrm>
            <a:off x="379413" y="866728"/>
            <a:ext cx="11525250" cy="5705522"/>
          </a:xfrm>
        </p:spPr>
        <p:txBody>
          <a:bodyPr/>
          <a:lstStyle/>
          <a:p>
            <a:r>
              <a:rPr lang="en-US" dirty="0" err="1"/>
              <a:t>DataFactory</a:t>
            </a:r>
            <a:endParaRPr lang="en-US" dirty="0"/>
          </a:p>
          <a:p>
            <a:pPr lvl="1"/>
            <a:r>
              <a:rPr lang="en-US" dirty="0"/>
              <a:t>Connect to on-premises and cloud data sources</a:t>
            </a:r>
          </a:p>
          <a:p>
            <a:r>
              <a:rPr lang="en-US" dirty="0" err="1"/>
              <a:t>Sqoop</a:t>
            </a:r>
            <a:endParaRPr lang="en-US" dirty="0"/>
          </a:p>
          <a:p>
            <a:pPr lvl="1"/>
            <a:r>
              <a:rPr lang="en-US" dirty="0"/>
              <a:t>Extract required data from a table, view or query in the source </a:t>
            </a:r>
            <a:r>
              <a:rPr lang="en-US" dirty="0" err="1"/>
              <a:t>db</a:t>
            </a:r>
            <a:endParaRPr lang="en-US" dirty="0"/>
          </a:p>
          <a:p>
            <a:r>
              <a:rPr lang="en-US" dirty="0"/>
              <a:t>Interfaces that support connectivity to big data clusters</a:t>
            </a:r>
          </a:p>
          <a:p>
            <a:pPr lvl="1"/>
            <a:r>
              <a:rPr lang="en-IN" dirty="0" err="1"/>
              <a:t>Polybase</a:t>
            </a:r>
            <a:endParaRPr lang="en-IN" dirty="0"/>
          </a:p>
          <a:p>
            <a:pPr lvl="1"/>
            <a:endParaRPr lang="en-US" dirty="0"/>
          </a:p>
          <a:p>
            <a:pPr marL="457046" lvl="1" indent="0">
              <a:buNone/>
            </a:pPr>
            <a:endParaRPr lang="en-US" dirty="0"/>
          </a:p>
          <a:p>
            <a:pPr marL="457046" lvl="1" indent="0">
              <a:buNone/>
            </a:pPr>
            <a:endParaRPr lang="en-US" dirty="0"/>
          </a:p>
          <a:p>
            <a:pPr marL="457046" lvl="1" indent="0">
              <a:buNone/>
            </a:pPr>
            <a:endParaRPr lang="en-US" dirty="0"/>
          </a:p>
        </p:txBody>
      </p:sp>
      <p:sp>
        <p:nvSpPr>
          <p:cNvPr id="2" name="Slide Number Placeholder 1"/>
          <p:cNvSpPr>
            <a:spLocks noGrp="1"/>
          </p:cNvSpPr>
          <p:nvPr>
            <p:ph type="sldNum" sz="quarter" idx="4294967295"/>
          </p:nvPr>
        </p:nvSpPr>
        <p:spPr>
          <a:xfrm>
            <a:off x="11636375" y="6437313"/>
            <a:ext cx="555625" cy="134937"/>
          </a:xfrm>
          <a:prstGeom prst="rect">
            <a:avLst/>
          </a:prstGeom>
        </p:spPr>
        <p:txBody>
          <a:bodyPr/>
          <a:lstStyle/>
          <a:p>
            <a:pPr defTabSz="896386" fontAlgn="auto">
              <a:spcBef>
                <a:spcPts val="0"/>
              </a:spcBef>
              <a:spcAft>
                <a:spcPts val="0"/>
              </a:spcAft>
            </a:pPr>
            <a:fld id="{F8A0AC42-AA1D-4944-8D96-660DE70C7E1B}" type="slidenum">
              <a:rPr lang="en-IN" sz="1765" kern="0">
                <a:solidFill>
                  <a:sysClr val="windowText" lastClr="000000"/>
                </a:solidFill>
              </a:rPr>
              <a:pPr defTabSz="896386" fontAlgn="auto">
                <a:spcBef>
                  <a:spcPts val="0"/>
                </a:spcBef>
                <a:spcAft>
                  <a:spcPts val="0"/>
                </a:spcAft>
              </a:pPr>
              <a:t>9</a:t>
            </a:fld>
            <a:endParaRPr lang="en-IN" sz="1765" kern="0" dirty="0">
              <a:solidFill>
                <a:sysClr val="windowText" lastClr="000000"/>
              </a:solidFill>
            </a:endParaRPr>
          </a:p>
        </p:txBody>
      </p:sp>
    </p:spTree>
    <p:extLst>
      <p:ext uri="{BB962C8B-B14F-4D97-AF65-F5344CB8AC3E}">
        <p14:creationId xmlns:p14="http://schemas.microsoft.com/office/powerpoint/2010/main" val="19062029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Theme1">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4.xml><?xml version="1.0" encoding="utf-8"?>
<a:theme xmlns:a="http://schemas.openxmlformats.org/drawingml/2006/main" name="STB Product Families 2015">
  <a:themeElements>
    <a:clrScheme name="SQL Server 2014 Decks">
      <a:dk1>
        <a:srgbClr val="494949"/>
      </a:dk1>
      <a:lt1>
        <a:srgbClr val="FFFFFF"/>
      </a:lt1>
      <a:dk2>
        <a:srgbClr val="BA141A"/>
      </a:dk2>
      <a:lt2>
        <a:srgbClr val="D2D2D2"/>
      </a:lt2>
      <a:accent1>
        <a:srgbClr val="0072C6"/>
      </a:accent1>
      <a:accent2>
        <a:srgbClr val="DC3C00"/>
      </a:accent2>
      <a:accent3>
        <a:srgbClr val="008B72"/>
      </a:accent3>
      <a:accent4>
        <a:srgbClr val="68217A"/>
      </a:accent4>
      <a:accent5>
        <a:srgbClr val="002050"/>
      </a:accent5>
      <a:accent6>
        <a:srgbClr val="00188F"/>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alking Deck" id="{54E23AB9-3DBE-4A47-A984-5CA2F86BBB31}" vid="{BD38CEB1-68A3-47F2-A62B-A143A6AC584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91E57C78B9F604FB8BAD296D1460E2A" ma:contentTypeVersion="1" ma:contentTypeDescription="Create a new document." ma:contentTypeScope="" ma:versionID="fb382fe2362acd2155f454904f478e4d">
  <xsd:schema xmlns:xsd="http://www.w3.org/2001/XMLSchema" xmlns:xs="http://www.w3.org/2001/XMLSchema" xmlns:p="http://schemas.microsoft.com/office/2006/metadata/properties" xmlns:ns3="636b0322-90fb-440c-9cbc-22749e7231e9" targetNamespace="http://schemas.microsoft.com/office/2006/metadata/properties" ma:root="true" ma:fieldsID="b9887c63ce4710c1aeb75a5f03aecb69" ns3:_="">
    <xsd:import namespace="636b0322-90fb-440c-9cbc-22749e7231e9"/>
    <xsd:element name="properties">
      <xsd:complexType>
        <xsd:sequence>
          <xsd:element name="documentManagement">
            <xsd:complexType>
              <xsd:all>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6b0322-90fb-440c-9cbc-22749e7231e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025FDD9-4C58-4084-9F89-0E6ADD6FFF55}">
  <ds:schemaRefs>
    <ds:schemaRef ds:uri="http://purl.org/dc/dcmitype/"/>
    <ds:schemaRef ds:uri="http://schemas.microsoft.com/office/infopath/2007/PartnerControls"/>
    <ds:schemaRef ds:uri="http://www.w3.org/XML/1998/namespace"/>
    <ds:schemaRef ds:uri="http://purl.org/dc/elements/1.1/"/>
    <ds:schemaRef ds:uri="http://schemas.microsoft.com/office/2006/documentManagement/types"/>
    <ds:schemaRef ds:uri="http://purl.org/dc/terms/"/>
    <ds:schemaRef ds:uri="http://schemas.openxmlformats.org/package/2006/metadata/core-properties"/>
    <ds:schemaRef ds:uri="636b0322-90fb-440c-9cbc-22749e7231e9"/>
    <ds:schemaRef ds:uri="http://schemas.microsoft.com/office/2006/metadata/properties"/>
  </ds:schemaRefs>
</ds:datastoreItem>
</file>

<file path=customXml/itemProps2.xml><?xml version="1.0" encoding="utf-8"?>
<ds:datastoreItem xmlns:ds="http://schemas.openxmlformats.org/officeDocument/2006/customXml" ds:itemID="{3B546BD0-A0CE-47FB-9E5E-E7FD558621B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6b0322-90fb-440c-9cbc-22749e7231e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0CA13EC-1D3C-4D6F-8D1C-E8A452CFC79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2002</TotalTime>
  <Words>5350</Words>
  <Application>Microsoft Office PowerPoint</Application>
  <PresentationFormat>Widescreen</PresentationFormat>
  <Paragraphs>728</Paragraphs>
  <Slides>46</Slides>
  <Notes>39</Notes>
  <HiddenSlides>0</HiddenSlides>
  <MMClips>0</MMClips>
  <ScaleCrop>false</ScaleCrop>
  <HeadingPairs>
    <vt:vector size="8" baseType="variant">
      <vt:variant>
        <vt:lpstr>Fonts Used</vt:lpstr>
      </vt:variant>
      <vt:variant>
        <vt:i4>14</vt:i4>
      </vt:variant>
      <vt:variant>
        <vt:lpstr>Theme</vt:lpstr>
      </vt:variant>
      <vt:variant>
        <vt:i4>4</vt:i4>
      </vt:variant>
      <vt:variant>
        <vt:lpstr>Embedded OLE Servers</vt:lpstr>
      </vt:variant>
      <vt:variant>
        <vt:i4>1</vt:i4>
      </vt:variant>
      <vt:variant>
        <vt:lpstr>Slide Titles</vt:lpstr>
      </vt:variant>
      <vt:variant>
        <vt:i4>46</vt:i4>
      </vt:variant>
    </vt:vector>
  </HeadingPairs>
  <TitlesOfParts>
    <vt:vector size="65" baseType="lpstr">
      <vt:lpstr>ＭＳ Ｐゴシック</vt:lpstr>
      <vt:lpstr>Arial</vt:lpstr>
      <vt:lpstr>Calibri</vt:lpstr>
      <vt:lpstr>Consolas</vt:lpstr>
      <vt:lpstr>Courier New</vt:lpstr>
      <vt:lpstr>Segoe</vt:lpstr>
      <vt:lpstr>Segoe Pro Light</vt:lpstr>
      <vt:lpstr>Segoe Semibold</vt:lpstr>
      <vt:lpstr>Segoe UI</vt:lpstr>
      <vt:lpstr>Segoe UI Light</vt:lpstr>
      <vt:lpstr>Segoe UI Semibold</vt:lpstr>
      <vt:lpstr>Times New Roman</vt:lpstr>
      <vt:lpstr>Verdana</vt:lpstr>
      <vt:lpstr>Wingdings</vt:lpstr>
      <vt:lpstr>1_Office Theme</vt:lpstr>
      <vt:lpstr>2_Office Theme</vt:lpstr>
      <vt:lpstr>3_Theme1</vt:lpstr>
      <vt:lpstr>STB Product Families 2015</vt:lpstr>
      <vt:lpstr>think-cell Slide</vt:lpstr>
      <vt:lpstr>PowerPoint Presentation</vt:lpstr>
      <vt:lpstr>Hadoop Batch Process</vt:lpstr>
      <vt:lpstr>Hadoop is a platform with portfolio of projects</vt:lpstr>
      <vt:lpstr>Microsoft Tools for Big Data Batch Process</vt:lpstr>
      <vt:lpstr>Map/Reduce</vt:lpstr>
      <vt:lpstr>Map/Reduce Code in Hadoop</vt:lpstr>
      <vt:lpstr>In this module </vt:lpstr>
      <vt:lpstr>Interactive Data Ingestion</vt:lpstr>
      <vt:lpstr>Loading Relational Data</vt:lpstr>
      <vt:lpstr>Serialization and compression</vt:lpstr>
      <vt:lpstr>Block Size</vt:lpstr>
      <vt:lpstr>Replication Factor, File Size</vt:lpstr>
      <vt:lpstr>Azure Storage Tier Types – Standard &amp; Premium</vt:lpstr>
      <vt:lpstr>In this module </vt:lpstr>
      <vt:lpstr>HDInsight cluster architecture</vt:lpstr>
      <vt:lpstr>HDInsight Cluster Type &amp; Nodes</vt:lpstr>
      <vt:lpstr>HDInsight service entry points</vt:lpstr>
      <vt:lpstr>Cluster customization options</vt:lpstr>
      <vt:lpstr>In this module </vt:lpstr>
      <vt:lpstr>Overview of Big Data Processing</vt:lpstr>
      <vt:lpstr>Azure Batch Processing</vt:lpstr>
      <vt:lpstr>Azure Batch Processing contd..</vt:lpstr>
      <vt:lpstr>Hive Overview</vt:lpstr>
      <vt:lpstr>What is Hive?</vt:lpstr>
      <vt:lpstr>Creating Hive Tables</vt:lpstr>
      <vt:lpstr>CREATE TABLE</vt:lpstr>
      <vt:lpstr>Loading Data into Hive Tables</vt:lpstr>
      <vt:lpstr>Querying Hive Tables with HiveQL</vt:lpstr>
      <vt:lpstr>Hive Summary</vt:lpstr>
      <vt:lpstr>Pig Overview</vt:lpstr>
      <vt:lpstr>What is Pig?</vt:lpstr>
      <vt:lpstr>Pig—Where it fits</vt:lpstr>
      <vt:lpstr>Pig Latin</vt:lpstr>
      <vt:lpstr>Common Pig Latin Operations</vt:lpstr>
      <vt:lpstr>Pig Latin and Map/Reduce</vt:lpstr>
      <vt:lpstr>Pig Summary</vt:lpstr>
      <vt:lpstr>Big Data Processing Summary</vt:lpstr>
      <vt:lpstr>In this module </vt:lpstr>
      <vt:lpstr>Security</vt:lpstr>
      <vt:lpstr>Resources</vt:lpstr>
      <vt:lpstr>Demo</vt:lpstr>
      <vt:lpstr>Appendix</vt:lpstr>
      <vt:lpstr>Optimize for speed with ORC File Format</vt:lpstr>
      <vt:lpstr>HBase and HCatalog</vt:lpstr>
      <vt:lpstr>Azure Storage Comparison</vt:lpstr>
      <vt:lpstr>Storage Availability, Durabilit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rank Gartland</dc:creator>
  <cp:lastModifiedBy>Andy Roberts</cp:lastModifiedBy>
  <cp:revision>431</cp:revision>
  <dcterms:created xsi:type="dcterms:W3CDTF">2013-02-15T23:12:42Z</dcterms:created>
  <dcterms:modified xsi:type="dcterms:W3CDTF">2017-12-05T21:00: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91E57C78B9F604FB8BAD296D1460E2A</vt:lpwstr>
  </property>
  <property fmtid="{D5CDD505-2E9C-101B-9397-08002B2CF9AE}" pid="3" name="IsMyDocuments">
    <vt:bool>true</vt:bool>
  </property>
  <property fmtid="{D5CDD505-2E9C-101B-9397-08002B2CF9AE}" pid="4" name="Related Type Document">
    <vt:lpwstr/>
  </property>
  <property fmtid="{D5CDD505-2E9C-101B-9397-08002B2CF9AE}" pid="5" name="Document Tag">
    <vt:lpwstr>24;#Content Templates|bdbbc9aa-4892-4816-9e36-bf1120da60e9</vt:lpwstr>
  </property>
  <property fmtid="{D5CDD505-2E9C-101B-9397-08002B2CF9AE}" pid="6" name="TaxKeyword">
    <vt:lpwstr/>
  </property>
  <property fmtid="{D5CDD505-2E9C-101B-9397-08002B2CF9AE}" pid="7" name="DocVizPreviewMetadata_Count">
    <vt:i4>12</vt:i4>
  </property>
  <property fmtid="{D5CDD505-2E9C-101B-9397-08002B2CF9AE}" pid="8" name="DocVizPreviewMetadata_0">
    <vt:lpwstr>300x168x2</vt:lpwstr>
  </property>
</Properties>
</file>